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8"/>
  </p:notesMasterIdLst>
  <p:handoutMasterIdLst>
    <p:handoutMasterId r:id="rId9"/>
  </p:handoutMasterIdLst>
  <p:sldIdLst>
    <p:sldId id="535" r:id="rId2"/>
    <p:sldId id="469" r:id="rId3"/>
    <p:sldId id="532" r:id="rId4"/>
    <p:sldId id="534" r:id="rId5"/>
    <p:sldId id="536" r:id="rId6"/>
    <p:sldId id="529" r:id="rId7"/>
  </p:sldIdLst>
  <p:sldSz cx="9144000" cy="6858000" type="screen4x3"/>
  <p:notesSz cx="68580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ane" initials="O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06" autoAdjust="0"/>
    <p:restoredTop sz="94600" autoAdjust="0"/>
  </p:normalViewPr>
  <p:slideViewPr>
    <p:cSldViewPr>
      <p:cViewPr varScale="1">
        <p:scale>
          <a:sx n="70" d="100"/>
          <a:sy n="70" d="100"/>
        </p:scale>
        <p:origin x="142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7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013025-ED85-614E-A9E1-17DB4C8F5B4E}" type="datetimeFigureOut">
              <a:rPr lang="en-US" smtClean="0"/>
              <a:t>2/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8D53F0-DC59-B447-BF9E-09443B6408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3398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64343-33AD-4B2C-9111-771D9D38C20D}" type="datetimeFigureOut">
              <a:rPr lang="en-US" smtClean="0"/>
              <a:t>2/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B4BB5D-5D2C-43F4-815B-7A4C51147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42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chnology</a:t>
            </a:r>
          </a:p>
          <a:p>
            <a:r>
              <a:rPr lang="en-US" dirty="0" smtClean="0"/>
              <a:t>Revenue</a:t>
            </a:r>
          </a:p>
          <a:p>
            <a:r>
              <a:rPr lang="en-US" dirty="0" smtClean="0"/>
              <a:t>Operating</a:t>
            </a:r>
            <a:r>
              <a:rPr lang="en-US" baseline="0" dirty="0" smtClean="0"/>
              <a:t> income</a:t>
            </a:r>
          </a:p>
          <a:p>
            <a:r>
              <a:rPr lang="en-US" baseline="0" dirty="0" smtClean="0"/>
              <a:t>Earnings per share</a:t>
            </a:r>
          </a:p>
          <a:p>
            <a:r>
              <a:rPr lang="en-US" baseline="0" dirty="0" smtClean="0"/>
              <a:t>Operating margin</a:t>
            </a:r>
          </a:p>
          <a:p>
            <a:r>
              <a:rPr lang="en-US" baseline="0" dirty="0" smtClean="0"/>
              <a:t>Time series</a:t>
            </a:r>
          </a:p>
          <a:p>
            <a:r>
              <a:rPr lang="en-US" baseline="0" dirty="0" smtClean="0"/>
              <a:t>Data row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7155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6531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chnology</a:t>
            </a:r>
          </a:p>
          <a:p>
            <a:r>
              <a:rPr lang="en-US" dirty="0" smtClean="0"/>
              <a:t>Revenue</a:t>
            </a:r>
          </a:p>
          <a:p>
            <a:r>
              <a:rPr lang="en-US" dirty="0" smtClean="0"/>
              <a:t>COGS</a:t>
            </a:r>
          </a:p>
          <a:p>
            <a:r>
              <a:rPr lang="en-US" dirty="0" smtClean="0"/>
              <a:t>SG&amp;A</a:t>
            </a:r>
          </a:p>
          <a:p>
            <a:r>
              <a:rPr lang="en-US" dirty="0" smtClean="0"/>
              <a:t>R&amp;D</a:t>
            </a:r>
          </a:p>
          <a:p>
            <a:r>
              <a:rPr lang="en-US" dirty="0" smtClean="0"/>
              <a:t>CAGR</a:t>
            </a:r>
          </a:p>
          <a:p>
            <a:r>
              <a:rPr lang="en-US" dirty="0" smtClean="0"/>
              <a:t>Time</a:t>
            </a:r>
            <a:r>
              <a:rPr lang="en-US" baseline="0" dirty="0" smtClean="0"/>
              <a:t> series</a:t>
            </a:r>
            <a:endParaRPr lang="en-US" dirty="0" smtClean="0"/>
          </a:p>
          <a:p>
            <a:r>
              <a:rPr lang="en-US" dirty="0" smtClean="0"/>
              <a:t>Leg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744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chnology</a:t>
            </a:r>
          </a:p>
          <a:p>
            <a:r>
              <a:rPr lang="en-US" dirty="0" smtClean="0"/>
              <a:t>Revenue</a:t>
            </a:r>
          </a:p>
          <a:p>
            <a:r>
              <a:rPr lang="en-US" dirty="0" smtClean="0"/>
              <a:t>COGS</a:t>
            </a:r>
          </a:p>
          <a:p>
            <a:r>
              <a:rPr lang="en-US" dirty="0" smtClean="0"/>
              <a:t>SG&amp;A</a:t>
            </a:r>
          </a:p>
          <a:p>
            <a:r>
              <a:rPr lang="en-US" dirty="0" smtClean="0"/>
              <a:t>R&amp;D</a:t>
            </a:r>
          </a:p>
          <a:p>
            <a:r>
              <a:rPr lang="en-US" dirty="0" smtClean="0"/>
              <a:t>CAGR</a:t>
            </a:r>
          </a:p>
          <a:p>
            <a:r>
              <a:rPr lang="en-US" dirty="0" smtClean="0"/>
              <a:t>Time</a:t>
            </a:r>
            <a:r>
              <a:rPr lang="en-US" baseline="0" dirty="0" smtClean="0"/>
              <a:t> series</a:t>
            </a:r>
            <a:endParaRPr lang="en-US" dirty="0" smtClean="0"/>
          </a:p>
          <a:p>
            <a:r>
              <a:rPr lang="en-US" dirty="0" smtClean="0"/>
              <a:t>Leg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750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chnology</a:t>
            </a:r>
          </a:p>
          <a:p>
            <a:r>
              <a:rPr lang="en-US" dirty="0" smtClean="0"/>
              <a:t>Revenue</a:t>
            </a:r>
          </a:p>
          <a:p>
            <a:r>
              <a:rPr lang="en-US" dirty="0" smtClean="0"/>
              <a:t>COGS</a:t>
            </a:r>
          </a:p>
          <a:p>
            <a:r>
              <a:rPr lang="en-US" dirty="0" smtClean="0"/>
              <a:t>SG&amp;A</a:t>
            </a:r>
          </a:p>
          <a:p>
            <a:r>
              <a:rPr lang="en-US" dirty="0" smtClean="0"/>
              <a:t>R&amp;D</a:t>
            </a:r>
          </a:p>
          <a:p>
            <a:r>
              <a:rPr lang="en-US" dirty="0" smtClean="0"/>
              <a:t>CAGR</a:t>
            </a:r>
          </a:p>
          <a:p>
            <a:r>
              <a:rPr lang="en-US" dirty="0" smtClean="0"/>
              <a:t>Time</a:t>
            </a:r>
            <a:r>
              <a:rPr lang="en-US" baseline="0" dirty="0" smtClean="0"/>
              <a:t> series</a:t>
            </a:r>
            <a:endParaRPr lang="en-US" dirty="0" smtClean="0"/>
          </a:p>
          <a:p>
            <a:r>
              <a:rPr lang="en-US" dirty="0" smtClean="0"/>
              <a:t>Lege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428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033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422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822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051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761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/>
          <a:lstStyle/>
          <a:p>
            <a:fld id="{F80947A9-521A-4AFE-8C3B-59BE50CEA4D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mekkographics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5">
            <a:hlinkClick r:id="rId17"/>
          </p:cNvPr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60" r:id="rId11"/>
    <p:sldLayoutId id="2147483673" r:id="rId12"/>
    <p:sldLayoutId id="2147483674" r:id="rId13"/>
    <p:sldLayoutId id="2147483694" r:id="rId14"/>
    <p:sldLayoutId id="2147483703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lphabet’s Financial Results in 5 Slid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800" y="1219200"/>
            <a:ext cx="3632200" cy="27241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3943350"/>
            <a:ext cx="3276600" cy="24574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152" y="3962400"/>
            <a:ext cx="3163248" cy="23724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48" y="3943350"/>
            <a:ext cx="3276600" cy="24574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228725"/>
            <a:ext cx="3606800" cy="270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276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Cap Comparison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lphabet’s market cap surpassed Apple’s on Feb 1. It grew 53% YOY while Apple’s declined 22%.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1752600" y="6477000"/>
            <a:ext cx="16578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Century Gothic" panose="020B0502020202020204" pitchFamily="34" charset="0"/>
              </a:rPr>
              <a:t>Source Company information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pic>
        <p:nvPicPr>
          <p:cNvPr id="28" name="Picture 2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xRdLyPBQmwFteRcmjXfmI3iQsQwPpVb50w30hc9sSW+FFwGxu/FHm7GcQ6qtJJKu/RT91BeJj/Gljzc737Ev1AwQ4SBAGsQHR+j7pwgE7+9UeCOInK6l9EGF8PTY6hQVHdgPBZhvHyLA+sMsEJFEA9fDlJtipt2LZJLp2Lm2V4WXeu6ZzpsuLBNjx0Y1GiDETIKHqT7hxGogPnbQnuo8mdpXiKK/kfwsluxL/KE8wFJg5LHHs9h6PCBiKdLtNrxxDpYvvs9CP1xE28NmrBEI20pz9/vtQkpsGA0dKkyr93yiNCzK/2s0V79DhtihTb//RUs0iYQ4R9+2O63jjwSxIEjtZFiSTGZna/BMLP+lWegvGiIOHLQcfRroSFPxTr2U5/VeyXtx3Q8NFUME234nVRbQsJ5DKZSRTbj+LN+j5w0cDJAAEpIYqbFM0nP2CNhfqCbYI+QIf59jrxiCtR9bXVT0QNMOiTK8TiSHAhM4UjROS0cd0zicSD+u9mGs+j5Gc6LpGc4LQck4DnduVqdKP+pG2kQZkYb0RMU3XNQENQxWbqOgMkNG1MLBvHJkHbX8erxIiYnTwHdyy5/2rd21cnud9WW8gDpAqH8f9AC7Z+aDNfe2cl2262YvigMxKXYK4OlHgl0GiN9BlLtmXPnmdTC7pvRzBZlu9l+ke6aZ4bU+GmSco0liK3+34dz4ddLhPzF+riM+b7lboCRZs7yPx3iC1cSx4ukQ5DgeW4+6/7TF/+fZRFpVGOwHrJkhx24E2ian4XwutpdtmI0D+kFMszKe4aJFP6r+Qpip5X9CKLllD8uqqwkvrXJJ9pxWN2offbF9sAGiGIeoOEdzDq52Rkkb8v50njrOgVUe3J90qx2scXIQdUKtqEZFQkFRaHdHBJUHDTnyLYjjdRw7PDU7DBayrUQ+F+2AT4H8yhRvQ2yzbfTyTJExcAanwhI1t+l5tTKXOvls/jWcV8kzqqjh1GtDGIS4twNzzw4lK39i7vB2BOfAHo14JGq8uNkE2YY1tGycL4E7hpuDgtQJ5NDB08bq1Fszv6BrdETpxmQpuLWxrB7lAF2jq+hOo4G3R5/DjMFwB8rpXJsCymR3lAnUelfpJVZvP8N9BIjkPVB/OBZ0V2/XtxtenGwnhQ6wPKNmRiwx5wPHcKoDgaoAw4o4dQmG6vYbfyLYBB5PMmDN9NeeZG7MiK3QRIaU9kSvOMRXK9+kTc74Jsx+lblGUMr3kJrndjXkJCtu+4SrM+rgRMPsiKT3ApnKZ+KeoW8Ranrtc21KkV9QK750mBQMpbSkSWTfrrrmll9dN1kL+0VWse5fQ82n0eTvpVt100OCANlOxsiZXmqcOCxDzOU06SbLSrhZhl6UMTEnJ+IRA4Br+o2UGYwy6YgNqwrO/y7hHL8q2KAll9GF+ovxvYjH7CBVHznNteZqfcqL+M7me8/hEy/b4+zHdEKMLj97onoELSbQWwV8O24LssKkz4v9UsKLZQWQUxSMy7fBQdnL0wLPo2QACG0CSjewiuYG6s8B/TpT+Q2nKWM8Rh606i2i/ZslAzkmnGyhpDY0VtXBOkbGS2uN7CWlbzxAZmhMHRuYeGrmW0y4I+Dht7CsLb3HIAwTTfdwKJTsrZWyMIjOtz8TprSTkM4mEVVMxi5AFa45BRPgIPZJ9RTPf1W+m3ppnVAwPvsGjrfXBintp2GuEDddSY9t4k/ho01+6BJWymq9P9FIKiluWL3i9M+HbZZmNriH2vuW3BrG4JkyMoOFDaclWTlXzPEo2Ip1SNzJBM0vMBBNNJRDKZJ4cS3NGd+dLERDqHQtLHPIXiL8d+LkAPopxJVepVuaXo7cQ9Feod73Vo/8JvbTJRvmRWvVNoiG3ubvnO7AqlnIxKqMF48fPg7hAvCFyML5+u4AbctA/cT93Lv6fPW/nxM4PreBjbkODrB3Bx69U8Z28mWYTKTUaVLeAgfljwaWxXcjWEfqIwbrhHPArQEDIHbcvCPEQsA4gGKy8mH1W7Ie5qWvzmC78afxwGyDDs6VkFN+QqV39BxeSxLwMwbrny662OgL/Se+2hhkoWkdLHqvsucPqXVs4hL/iw2Vr3cQAVB6xHtu2zHSvZQEXSV2uaVR74vLpqBAoOptYnfDLf7+KrRNEx2lFTgnlZL46rljOagoShMYRE/ZWnOCtzO2eaQyohUDwzH4I9LtQ4Lp3/fB7zG0cYeqjSPSGLl4h/pBI2fKR5lKBzvLDjdXPX64pi6YV/cP/rjDauNt0hKhC/vFGQiK1kjosk0lFIS/4hHW9I9TLdePkms/dyA4q2UP4h/Vv8d9hVfHSIKjlWn1do03hZXDtDKLaMlm8QwzeajrPiKllEGqEAC7oNmG9ALch9bDEA5vXQJQrDgj0dxXeuXSmF4WErTYS7SREZqFyXO3D+5KwoZ9Amm+PimCu3z6L/UTC6l9PSshIH5a7QxPC+jd0vh22gSy/ekiADwJ+xRLdlgEFpjZYfCRIBXUo5cU4EMmsdz1XzZchUTTHubjWZnpt5o0BFTaQXTF94xlhS/xFN/1s/0Zdx0iASlK3gqCACe4ZFmPx0wa24AYHyoWxNgOYtphCnUu8QZZ283PrIAilJssenIAHV5BYCQX8MoeqNQ3oBT3sCXoGRxk2VmCRg8J35ugZPn8JwQpcNniCy2F8iWkXcQ98XrxQHvSTmKVZtymYs6FtDNGnzrp4AFnVhEgW/StjU7YQ+uj2xXJK2eVZ97Nic5LR01Em59sgtbPDHgGf6X3U6KgupT1JM6ai841BqatS5D2pQFFfAZMYLkhLXKThukCyazRHMqGVVtpjKyQw0cL1K3cEQHZvrFNFagbs5U/jTEsLfd0x8y4AbMGY2d0v/wT7kKEFP+EihIqO/KdcGzvSG4ufRhuOsDjB4vaIxRBl4ElaeiIL2/GJ/3Tn2VQIjDxwEJJUtL4/4rd8IlZz9ix0CxQy97XRPaMSNfwmiddPyPvDFECWfpxS7dZZ28TpI0eqKj/xjgBHosl88tZGtOek46K5d0omsylCHnUFn6llxNfQ6yCci3vvUbSMQtkYIZfOTETGVpb98sbhPI0xDe7nsRuvSIq+cox9RJ++DfeI4CBUmhU9SmSpsDH8Cr58D3LSBilz5lt01eEohUEduAy9tBWIM0YXEYilhSLpXkP1IYVsJJRrAqtbucFZcgByX5IL9nfXto3QXJptMbcxvLyxjOIYDGWxYCMS1cq9YHfh7V32GBx/abzbNu+p/vTmVUyPvcIeb33Yz90KrIpkX4+AOJSzp8amTpoZaK4zbfHPI9PVJq95xh49unIrCkFH12zXwD6CSWpw+sTCCxCEabxVhbNlUNVhDvYGh17C8kM2OfAylIXssVSDzpkmSh9CfJHc7h07qPnCsGEeN2uz60wjTBtS7bx+BJfRcfd5TGEqPDB+x4eRlDew3eL3nMjS+NxXA6/Y7cML0h581nPqKaI8l1DcyDK63KBvQ0v4o8J+3Ri7InY3u6NDS3iZ3CGVbLC3oQWjIBICQUSiOhEZVCch3mDVFpRAF7YdngGh5gUz95NFbdggEbRdX4waMiZmFOZmaKd9cs71mUeLxEImay+dSi6rYv0VE8WSMKSRD8/KUt+Q+vpRBB0l2oDhgc3GhYRRAb0kHWrtLF6EzcEAHepR28vRWqbLQ2TND5uDGkhVN3BwU+bNv7rqJvxblI0TsG55NzkEqOaFs/IICzOnZYUMnWDtoXUjS9T2+9BGrqB6g9ygFmuBmbuzXMXm+JRm+1ykNVzP4/cB0GI9+p+ru21qfR+kzGv2xYi/sPiMCz6W5LwNe2WBPbosYLRwrXBf34fdLX2fMZXm1r/ENeF9yiQi1zm0ldN8sGf41Fxnhzlt6MGqVRklc8/mbaokOficiOs3ID1a8vQZ+WPOZisXDM6e2pbbF7mjfk4dY7I8OMP5WDlp7Xldy0HwJFzvPewxtXAPbesE+Feki/bDxyPcNlBXrxKUEwO/nJ1oEGu//SZJLJnIcbJ0PTwpAhmVStBab9+/gcpDK+czeNvflXUk/m73S1jiPU7N94Khmq97AIw0rJQ5cZZvxLTO3XuRVdikObKsPbgU4BJSg3MZTCOedGAf1L6ZfZ8JgwD2DCKATqewcphNxEZk0hRk9xxN36tdXDRcaJmR1X4GhqegLAi2A98NWMU+3mlbC/crt4pjkebp7yMadswQ4t8CRZiRy69rxadtNR1QUphN/WCQP7rWnaxvYFCAtrfN9vGVqMXbFIDsOpw1Q8HiP8CmpizQnIEJJya+aeDBpExU0jaFQOi4gV2fy3WcBUj4JKKELf5NcIFBBI0Zdna8Jwac5riiMPHWgGKrEufH/qI3I1n4poLLrOGo2u1rIUqLpOY+SJ38Ati6u/WPM955vlm7/1ZV0MRc3n065/zcAi/AwZ/r9sTGFD9cQjRlP+dwhyeAigdJTl0u/AD82dadCf/fL4qh3DCPw8bek4KRM2zsTGeiivKqX1oXcqGbicphUCIn+RWDE2dnPiBjjnp2/71nyP1bxa4aV/spNHt0MWW/3ovMEiDQ80JjZyg73GPo9TRbqBXd+z3oWztkNF5TVYks9GRyT7kFR5wKqBYYV76HFM4RM6Xk4g2xcMe2H+4ebCHb1F7aXytW2M9Vd0kg7l5H5ftqL/zImVustYg9nPcaWc7BkHbfZ82d/au1lmMpUh7hTpWUSjZeuH5+/tjczQAUTCLvy5OVgDjP+GD65tP4dQaHnNTcM1pjyS+gKMT0ZhCog0SOey/1PmykPffMEZQg38sRNOHpHEr8Mn2+cPltXss2QBsVzG+MszgVun0NN/wEHkhllhpm54AU5vvJV5UJciTl8O9svQXgnJ5kvcuY3nR9u2byQ05ucOhR+QVyuD/WnqidmmBU2QQxFUT3srKRzLUE5pyxLVuDupTRAhVdtRgVUoSdfrWQZYiHSttpkuJ147jjIzOhsKk4pfUnVoqSGKmjkDtQQibHuFCC5vbT5Gu3hPBxdJVd1kpDfaQWMo23/HdQcNoR/qmfNVUhJMuVecDWa5IYE691lPZGfKYFAWSdqxVJl3spoLUlAZ2mJoij0ZEkBJujeK6QVMylbM7zR1QOXbIUh7Q4fQxiGq/2prHpkeE4DKdiIhxQEku3q52rbdl7mKHjUEkfumBOP25qCnmFd2NMBNajz9mJi5PU4ulY/Wznr3mQLneHNhCYX5m3dc0bKN7Y9oqVIJgEhTwgG/+cSyvAttLJb7IoRdkVnyLsJo+4BUwKlsoj9ospOeuAXgluutzdcPrju27PVayD7Gf/g72nBvWQUOTKylPbu6RhmIGLwPyvwEXE1jodEfIWGPGXTt2S70ylv+Gljf9Rai3JqhUzb09ChYsHQVNPM5UCsYe8rpejhqaXS9V/YIOg1hnNpVT3tokI57tRhiI1cueVPZqU3snQPw4S/nI63FFvRP2cyVHb47rsnmq8YubIJDLXWFnyrtGe8i7ZU3oFuBqYTlXOFP1tgeZQsEGL1qP4YsARWD/8/PCUX7lguKuodsAFIGphVwZbm08nMFb5wZ42hn4kIBEslrwqyl9XvkUdLsaw/9Eca3L2JhGdNHULo8GH8MaT/AJGZAnwC4VOoSfhBl+UlZDWb9W5jHmxFabXUHW9CSYVRSSLq8I7ykFf3FQq83Aci5vfiXFy5xMKD6IChHg9AA3+IsA9aY/SpHz9no2Q8pvlrfhJHKYz/LugMgVg9JKAEPi11SDOQU5N8EDYG7SlwBnysdYBHuS4kfXbaHIRa6hcYd7EM9njgeoZq68bp+jSZ9ME2rUnxuuK4ng8Dzy2XAR/GHnv9m3enH1B4ugofmEf11KqyDIbfYxZGB/BI0KNr1TyFwRMlbYJiS14GbzckQGzp7C64cJ8brFRz9EmzaSkEYnSLeY+Xi99BnCzSzVKelJK+6FaqSIWf+JOxApcpEi3X4GIGAoM1bW1FEJqBf017XvW/dmCGFjmHw1NypcVsuf5QHPK2iPqyFAUp/bRhcnvImukHFyS8B+l60G2hMa9Hg6ta/sjeafrEYbNUddHntTZz1qtHyEumMfL0r7Ea+qzRQtLnp/qVuNW7jB18sv1Y4dZG1rLw01J61oTMJcs52r2Jgv3jygp1ppTsxTjO2ZkPAghAahpxqoPMPid6uTgGfxRLRA5G0yit09dvGokAO+bA1xYryApFX9qSs9Jqce+6+pcoCAybEJbs8ka16KlzV0CmBMz+EidHrIr01DUC1umVlz7qxJpn6OhTPV+xn14DsHkW/DC7fj0VmipMFLdR4z6UyKZbjQe3YPruiQnRed2VQkznPOv+feupFZC98YE3SQUYbkUqTAEnkGv/wFVtKb0D352KO/rneb5g/vsNsgWCiFm/cb+nGtOJrmnBtBWWRwpVko/OyvTrUAWSZYIV0a7FFOjC3tiNLvpSNs4kmXPAHKf/tlGw2cu9aBvMctwe1ixj17H2yQAtz+XgsZtEUkoqTuz3MWsb70XC+4jzkS3hYbpwVF0rj3AJjQmSP5mT/alXWc84amJN86YLu1bzpTFcK1OJN5aS8XgmyIGLgQQMOeQS+zdCDLu2y6bgEmZbfoIwHgY53IOoPi7TM6HbDJ2zxtbNQmYb8Jysr9kuW8bvBXxOgZ4+EtniunnFRrNwJzndozNX+LDhz6QmppBYY6nyV3lxJJv02rO6YCTieVE0KVIfc+hpkyiDtp71leDszXcwv5hUMCU2uDV7yXk03Kbzh+7jQ/sx+Zzvg5szMoWthq19/bmypuAITFuAfvyI7ohMD1ASPoVIglsQEBnYzeVVfrNPU2ZxQjmuuX/KQIDMmSqaSiONy3bccA/34F3oDlpKi2NTiV5xANAQMpnf3wa9HIA3Wt0Jkql321oS81F5C7ZHjHZ7s8gX3S1gAyFrq/p9O4pcaPNoTlWYtDQ9GzfkQW6O2Wjl5sTd9t7wPOllEEQESBMw5FVvMTe4LI6U1pFHDwmBpHHW4HBDLFBadoqYLZyw9OOM5Fi5fa79G78gqL+4lF7PKX/DBH3o5OkMcJsWPzDuFn5NPpU54kKabcf9RH+FySsyLl7wx/jsD/hYWY88iXohiWwgKALuPnomA6fPVbUK3tFCQHbPHDOAXGVz4tuh7bQ5fUbOqyQS3gcCGiX1XyaVLfYW0Wf5W6DfrLnMbwpRrscmrqH+OETb1VwpvdpR+2gyDVOGlLppdFAyS2qGMHx5Ejm/OgeGRzyPHVtN06Mw8cDvYSDymzXHUI2a4zMbkvCeBIa5IA5tgEFJwx/2mt844A6w6yxVW6XUH0zfUeY+eOrtnBRB8ZlbEojh6a5vNXUjXx7Gt7rHMQH3lrhMnu0O20n2EGrvg26XEUlTUz5baNOBVJxGQSAK0XZDJKuBHH7z3Kh/4I1vgTmXOnIswBBRl8hyfy+JdSfxszIQk5r/sl/bCzpxu1V+u7+D3Stz2sMgxD7wg4CWaQUMwuXU+FKe34uPO/M3TJIq5HdZL4q9yOzkNVk9YK83OW6py14SHBShJmNB/Al6rmmFbQKOdbTsXeP5XzMtcPQFcFe7uAtU83q83PHnuuEgMamZUOGsjPY78MliPODigJW7TSxjSQxeOXYHtc7leaoanLbNPyN3S6cjtIvflCpjVH6qgqyqCjChVR/THXoNk1fi0+SnAH7EFVR/p0bOj24T9XxChNYvWPe8xpfVpH2tFvBRMiwHzI0f++kJ69ojsVU4VbZuhTOTlh+mdvN7Ld2fX4FEUm71oVnC+LRI71fTweFjaJ3+ont03POO6J5/hNMqYecBcsurZWxtWcSmV35kU7JmBsKnDQGCLWh7DYWwe3vNLIAyqbp4stofvWDRUVhZfh+qnHx/gg6TDVEY1WWBNdiU4D+9dNOQejNn3hmGEMh/o/tvjpEnawqklsrp3hshnEnWaqHrBPAjvEh1Fta8AoI070h13JpnSVirV9qgOwd//8ccHZSZl2rs7rOl+G7fJmJoMTfB0rezvOEw9Qf0wM1Ism/MIiyJzm9v4U2jpMps9X9noR3Sr6ZfcFKE6qgxRAu8lQsNVfyiChxH4gEV+ed0hSKCRMv+LT2ymukf01DpRfl63WvJ8+puFhWY5gn7vUP3tGtjiDwsgZz50BXjKnOeXWbpwS5cRHLK58ctwSrsIFeYY5psHmsFSkiVdb7Scgf//xR85bT71sedA5/Cyk7/lY7XwcrEjsIiFf0FKOrNFFEKjO6MdK9o09YFDjeOAvQIX22Fs99dgkVsldeqKMQpzxe0cOZdmFK1AOTIN7ch4L5D7OSftc72g/g7S9a+/pJPnnXRyS60GTcDF5wOs+jjZploR4q3IzEovKoir7s7erKoLiYc+QJpmvp5Ieu212cRIWzlnPC7zuxRqhCh5THf2biRbHdUxJy3rfz4/H70dFiHVOuee0NjBWGcBfMM0HyAc18y6zv8CJe13wnkkorNk7E5/06R1avq9iSN8aVSkiSwqF09acEXMNXW+JuCtgH8zIWB1n3of5x6k/gOj3qCulFum0fIenW0bsJ5SXfGVbLajznlANOtnCTidZldpzQvE1OkjXa34RPfQ1nHNIFrnaPEgDtY0Afns6Fh09+AV6HG6PmZG8opA1YYd/52dUNJ7Gfxvh1kOwhAZm5Wi/bT9vgqQAr+8HIrx6yKcbAFY1xq7nuCcWxldKqmZ9lmTUowmxHKO5pWqkqibCENWksKy6cdo11guWdSBWPOXGzTVoVXKVSbVCL+JWTWp7TefuInS6Ek5sh69a19hoXCjzf3qftM0RPDNazBeR0mzx4Gy4yVXB5HnBTMSldMqDQOmXNCAqU87fxpLMQqFwyi6FBj0B7KXET88iyAtINpdrWcN5DOb/mCcobw1fuCw6NKu2QiuP3ujJeGJshHxfxoVgOQtyw4+QMlwXAp5wrQir+yccjED46Z2CSgbCgXUEfI3gv0MwLhGpD/MDFUykCn5KaiWZmSP4wFbzGAk44OTHIaaiNL5ecqiQuA0cgCNjWtbV57qn86tgU+6F9azEm9B+Otpgk0A+/QNSiUgJLHN/7K4GZFocmyuzbF/1LRNAc6fF86xV8aOn3eDBsEdX/v/wioWrOWhTNczDhecWcJs6OqWDwQk1c+a5/IyD3otT4GmiG6/yt9xSew8FLGKUr4xQouo9bX926GfFWmGH0sq8qxfjahob5yC2N2Qabh0yegrWJnqnObGwrN8e45XtXHZpv6UG6vtpIHhBy4Fxr8LAgoWELl7nZ/qkr/yNjaUS2jCHys9WQ4d5bIjYu9cuMk8YHkiz2z298xDe46VaJVGA9tIl0vpfcUOGL9jIliIyV2Wgf1UGq9xe+YnQk0+RdHKr6XXJHwDgQO5HEjIung1dzan7QdQ73VaS/+t03Be9FX1kYTqri91V0V+zHCZ8z8EdKevgDvK3dL4Yu2TTUZWC3veBqEsSLJCfGrCEvfCZCOp8icmfmQZOInXE/ewvIbvzDeDQXclldMZA5j7wgTw6+aIWEzbwFD2nDI7zS13lk2yNHeeI0OniwRNmDmVwnhvx5LFY40VOe8e8nFUJZoIWp35HG2IG99ymkD7WSB/glycwBQNAntpkk55E87xFz8w/mRsxBmsq2xyW9l4mHWUj3blTDhBGhbDm6NwJa78KiWft8NgcuZXoQao6EDPYsXmSwgy1EjhudaWIqYQlA9BdX7CJG9Hv2/hCDwHlFy5EJj5b+YRMpSaCl4xuTmImPUJVu7sH3Wv0vMmGk7L8JM6rDVr2h2J4LD3muObsMkvO83lbBm1mWPvNy9cMCo54osKi956TsUq0qRw5kffOKABnKqWkgZwSZAFhppr4HTpLDKCfkL4UrlGb2dmWrMVu0c8xdjDQLlwNDOXVAU+VUL+F8viKE8d8Yc6Hfbus/ziPExS+QvxMmhxAhyTekEefR01E63zyerjruY/TicXa3+By+2BdzsCVuDIFkDnfwqrsDE8J2QOWuyVoQf+PKFsz4Wr/+YMTDn4meHQIGVcWaL2aiavbotKDtffhuZhlTp9BKnWmaqxu31ST/LO2Pzj8AI9P9ApudNznzLyTmRnN8tUxY3enE0L4PPsSY7HkQO/frk+xOzHA0vRPOFbg8KEIbqS/It/7DAZaowd/YIEiDM4wVo2OvM3OlmZYsVw3GnXGrEtj4VIsviI9h0LmHOddZX3o0vPeVmmVqN5sG/9+B2Kt5npnD6XyYpSZCJ4rjjuEwvT1DP+gcSi0CmqugLDQPpGD0bzswuKMAjQVhhefxGDsXLJMZc+jUHChbvfHcjcGossA1ySEW2STup7D/pMxAdniLz53kEJqjoxYAEsSfpEWfZ0vdTTRRpdBo+it/WtaufeV90oCK9TjUkG/ylT09vTNJdCDzXdnpMMUVRMfO8o0BOBiilRbljm+5YWSqBIGsf2QsvDMnrtQteJEUqG96Uvbn9SPlc5oqESRpPm3D1tGBpwB7SN45ds8yMcHAUEbcJqrbJ37yKXUz04leawxtufwvHJ9m0hpk13Av5R+IiXXejT8+ixlVhqwtjC71+NG1AeuZOv+tQ/wGdTFYuFQ6Lt6gd7FeH/JC8Nih/YCVvoE57QB1jYR/EjM5f+TR9WbhDghhWVn95mV3RrPHZbx6yzOE4/o4aU/wGK7uJLJV/bcTRVSgD+6RVeKpUFeGj5deebRYVQEiS0bYWIsxFaKNVttEM89NTvZ6+csB1/s9Riwmxg5bpl7DuDEWLjcp+PG/zolNm7z/rvpHDM/QP+gURZ16w8AqsiQIDfUx7QfJnW9CDFSzcQkssyVaaAnpnjCECHvg5mqY1BSNNovaSMM0eKOANyVxR3lXwg0OVrH4PsxBbd4wx/yFkbr8dbfidjfHPAEEs6IIAW+3W2zdoMHfBoq9qQvkej0Xu9dsXsgSmdE/ranOaf0/rZvQYa5khscH/FDC9n4tvIQ+Wjz4H+6WYi6yaTDTMS3pTTg+hTme1AGXxcbchh4XREqMr3kWs4eufGQsxmeZpwqDYEb3ifC8a0qM0pU53InLy5uP2+IrC1og4nVXTEiiYQjbTykf2jsuKJ8j0sdFAE9T2/OCgqdPRf9SfisCQ3j4YukrVIhW2NIGnvzpehGsPAUiZ0FuO+ILz30ifHDnqyYNfRdZGeNKH8F0X02vImbfwF/nFUo0sQew2QwpPYP9IZb2TAlBSxNaeModEd9VNWBfGrKWcDp5u9UoL9w/bhBfkvqUzHMPSNdysl3e2mMYMcU181VIRH95TDCNEKO4dg3R2GeV/zDZQM2QwV36N9gbLE23UgxRXgXdG99vbCSONWNz+mBRoSz/Xl6hRiXK9pEbsejPbYsSEKmgKs1aER/2G9H0EhlTUyftuZ8JQgNIWrtk3BKYzPF9NMIgvT0aq3ZtXf15Tswvv7fIL3WkgGNpA286oOlkW6kZuDfpAsDMFTAxfsAto94dM4Mv/zlXMX5KOYxxfI9ZDuAgoGQR972tJoGAy6RmJ5sf+1Ymlur6CriHDvfsn9luNNB/yOACDGS9VkCpvQaRAOPl+Se3aGqYhQqBNSr16bOc0PlFymZF+0VHcDme9i8uq/gWz92mLPI4TsoOCK4PLaNmo5wX2zKQF9ZoMdzKe0Elsg4f2ETfxXJmtsaPS2jVRwW1Ap2ty3JdFr1yOUW4osuDvwZd34uUa2P8Z11zBnJoDizi8RjHY6E4+RWFzG3Yq0noL16XlusdLqWNVznYJbOjBwuQAe5TPFYyrAhjobrm40kkNeDccbB3qhOKGX67nNX/ZA+OLiCdeibsVMOzcz4/ncNcF4GHVWCr4H70kIieuPdNOgZ2+BTWrw7Y9jmBOr/y2XrV9Rk9bicR5HzS4q7pwwbTDeH6B5I3MmlReZnVe71RSH0ev6IPvz3gXR1Z+vNAnWu0VkhggzJrJCpbG82ZzMEiqumP96lXEBtfVBv5oWe6bJ3iwanIIgY+cSvNGJH5NlfOjrto9TWdxd6snKtPth1pwIgVYJazWZsoQ95RTLuyCvONmCnCUHSf5MQHaoF7ch/d/Di+OUe7ewUtOXhHAREFLjBgYUaK8ABbMYqBs3pExcuePEPxjMj8p4C8QmhYLB+9wTokpwocYHwrCn77HHGnlgR9nbgfPes49JbalVLevle5UnyC08wRHMH7ZpyaKGEVfxGC9CJgY2CIW/7sqWX43g5u4JHuRBs8JBL0iFvC9HnJ6s8nAupQN3nKGWcovrWRPhVhoOKlnLOTAA7di2+jNlAMQkqsmS+R5zh+C1/UWLGGV8ACl/PBOyVlFiId9TahaUwaowtr6mvyQZsxfcsI9Fy2kgLjCvQ2+mnhw1DUl5uQWN1fXKLDJUaY/8GLCvwDaIZ3l6BA7tgfg6e9qp4CisjXWt4LbXkMfI/xJHVvV1R6aISpG4TbelEsbOF/9KeB5YJIRA0Hp/iM4K/yk0cXJ7AnZ97nj2wFMr/wAqiMNrQ1hx3obUW/8iu4UR9CiInbdBwYygvaSXTxdl1HnMU4ZnWbu1XXwrIMWsWjXrMxpsQ0zZrnQNEr0M7xP2iVhoFcBwJJ8UXz5+y2cDDZkQzO5x6HpFgo4fqy7Nl9E7mNgvn4wojOqUMiqweZ+NytaYmHR6n0PoIrUizOeEoVupwW4yy4FrbfalllOCEN1YWtdxhUEjIDYf2jVmrDQM97gxid8gmN3HijFgPmd3dh+YpOyraRNCSY7zSEWBv3HUVAE7wldYihEE/LmxpJSIXOlNIE6xjnBEiJzo0ZBc5C4K5oEswF72e+U4dOUX4hi/SK8cXGcN4nXm2qg5b8rsZ1+I/BD6CZxTtpssUOI9kt2wOt4ywubN9BF+yJ4wVrshdrd2/lj1F53XncBQMXKQKL2E9SOkTk9KptBXvgm/7l+pGMXV/1lBJn2zvW8jDrEvkQZuKqijEmJ1gxr9gMHzNXSv7RHA9+mQ01MsbkAaqgf0c1uVPbh1HSpFX7KfGEvOQofboDnY6PRxxQS5WGjq1X1kpDIK/CfW3C6dupcE+PnIKmZEhdoWdLOH3dDj5MWH42vcR0W79RMV9lI7NTImvkR+UgT516Ah666uJun1oL+N5XXAywIzCzDSeO5VhR4vjrDVIvuBS9SBURKIgxU8ITxXzQQYHaLrBlddBXGcRw5UHA0mu30HB7E9eQMqCJ4rMbrnDFYbr/qWjIMOwWQbyQAtLp8n6tkZw5q6/imQDC1UYnJixKhEPSC63uycYaDW2MGkiO2RrPbNtd37yNl3wuLV1iOfJ7kxyFj6fs47TlCdhMg4rP6kCtq17zZIztY2OMWO73yAVVJg+RE6XFH9azBrK99jR/Lg0ighYqHQZxGwiFxVOHpWNavxBQIvPIFiCjiKIvl1eZBT0ioMpgWgDyH86jzc908CkW7xaCFDJ5mVbyHB7v2svw3ZYzSWX8ZjD3LZ3/9KIKpgpWM/Gt5EJ9tINsbHnogPeMOS9Gq0LrpowelK4NgqVtaPHSBqhDIyHDuzRx1wxQ9T9NHK44/mYqzYjSR19kFzs81za4+YsEKOdFarKsfWdumq+TVvudYECa+VEIcmXFK3O1TQbW/0iy63our7SzrdWIzJY65b9LZXHRxDO1fXlf2UhjQw31GF1+f6cqyBiiIfeyr0Hcjly/q7HfppgPriHD29LfiVFuIuCiaZRAP40h6jtBPNqfJYz8k5+x0z2QfeRNTjZ0qDJgGADw4lbKf/+Ng2rmr0G/clCpVSfkgB8qVoexqO/pdvHxraWNfHrEKk2fD51OUjDm1xCoFTu6XtOeffG2U0p4Ibz9HQ+jsLh34wsGATOdwrcrjAajsJHY9spJ5DcD1ywo514XDfDRUi+f5oVIM+mceSyUKiKM3Qsio5p1+Ljs3Xw2WwgQo30ZCeLYQV4Jaq1Q+1LXvwsAqd+xNulEs9+7tyDpzQm4Pv3NG4NHNmGSC/Xu+NKYZaE7amLI1VHEfm1sAcM6XvJUyBMGda61gv2f+RDZ8bEIGM5HTbP1s/KxOq5XHORhwlZ8B+u0A1q+wNZAtCeyOe9JocLLOljQo7xf6/nADpTu8GE91lmfTe+AKtVnKHz86Rs/OSkEvu+Bktmp4NLu3Vvig1t6USU7HmxSmRc4fZaYdnAfksv6NAPA4MUjkLp1qTssiP2CEh4ZqxkvsYpFndBUnCZTsHurDGnThNLSKwrRn/7uyZPXfnXbdyIpadfyaJN/39K4LkwgHLN1maYIjsSoFVZ/T291yz7o008NxiH+u2sKP+/Qwu8Gw/0NPOZ1LkIb/3RovBntg1TSLSStW1WIOfdfdyBAucCe3AAWK+xIo1LDBm1RV2FnGOQEIZNZBnU7n/LeCdeqz3+VbVJ2hu3jAwQWeGOEF+xz9EavtiYAE6Or0e/rLFzQLNYQ7epzzy1vfVTZc6wNK42+2z+mH8cEC6rDLjw3jgXBRGX/wHmG2GjeUB4qY6BEqvSKuTf3jjdxzKHvqbpCLlhX0yESt3QxhOPFAg69Chk/GMiYVZAkrXjlJYYRmZcsw2q+E9Wqsj0P35LRm+fTZoQdtmYvAPRCvNyWGfNoRNZwuKh+sK8bcKgaMGGLjR+yrBVMRgQeRearwX9lnx+weinDFFSR9OuVmcxoe1h8UnJ0r85lgAFMZDSQf/6Yf/mB+3C29tvd4G77GqtYT5WbC23ls/7qz7qVM6k8f3R1YHXr0LBU36CqqUGDZihKmQU9L6j0g2yjsCGWRK3KLbY+0txfFegt7JSMyVNelk6X38rFSNqBakaImUEkIV4mh0s+//mfnLLctB3ejeccmrwVG/qvrFs4JQmAqv45S4myTLbdOLZxl7xjtp27PP0l+JKU+tyvDfzPaqePUiCNDTKHUwJMRew+tcCDTUKEKhMl0PRpGTQ0ic0Icqn7FCt+gWehADiUsKDDpXfWG6XPXXDamvPyYxhq4h3KokkptieoWEHR5Ie8ZbUI5nSy85xmQ+iQvQgRNooGCfpMnyb6BOqu6WyBOhA+GzDl7y0xeGqyt0Wo5Srfwa8hRShLq8VR2/Uo+ETKT8Rk9CFXjXoBpGyMK4nZsnQ8A4QE3awYHJwxHhzb0rp9SsX8xszRmztynw4WNcaCg11OaCqE2poyKEhD4JVp1dv6CrW8JH3eqN6rBFVreKnGpcqllYeqA5tLglqCpMsEbJvTHlK+IYPw+VJxvSFrPnAp4RAfOlNJwhN6E2+DUTV+sDL0nUxcFKW3rWIkOFx0B3ptdFDqpNPOwTcnlfB3Q503wDZ/BTw+Ze19xeyKcW4NGN7nR/SEw90ZkVBwEzpgoQQ/rHjkIQ/CRy9XvMOj0IvsgPdgHAwb3pJguvq3eWOgpjA1Sm2LnZXVE7g2a+MUYgq3QFE43DQsRF+5pIah/vjWqo3I8v+bBzSTfu67ei5q4vFE9Hpta28TiWbOjAdGUL3obnpbVuotIAtW8h4tYN8af5Z81LGg/ptpY3LTiDB7oiSken8G2wjAVwgvyo+BHpo5x8fjtaZ3Hkk+AXh/EcLFJNNKhQMRtVSbVEzDoMHBv+F05U5F/l98wu7aQiuquDH3rIRPFnm/xCS6iQjrqlVZxTJ4zocTGarQh6A5mfowCx625njN51w1uQzMlym+MSsT/IAPjXpIs2NAEmMpoxwurd/72zXZ4OhMu0rQcKPj/LGoZteO4ABeNsyvv4/YK6DBlq5KRscFnkKDX7DBbk3jojdl25ba/rG4KHnPinqMDVIgjVdANqLVsY9vo5Lj1/rLCUdmg79vgFzF13PetK7FzHNStKRwD3BLYN9SGikV3WmhPRQET3O85hwGcJ54XHb6YrLIN4rYF6WfyW91a8FyBO+ykLW/9mn5BAkdUW6XywjV5bdgrhF1WUldQNCCr3Dj8UkY3CotgxBOJjWbvy/hbDMSwZiM5ypSFNduSEpCSiBwIUJL74P5wjJVfelwyCNajkG+BgeYUuAtsUvH44wBaRsrqfXl3e/dbUkizQ2aq5mCTbIAZJfQRzdVjMNIUf+OtLK5sOwVTLd9tX2kO+c5f7DS8dbhMtr/UenwTdyQj3caBUDkgFeJScm6OYyQs87PnEPbbJv+u6gHqgAM9AzfPrH0bg9Tu9zs9v6x2Dpl/gX5z+mL5sqrQDBDPHNEQf0h5IaAgenGHRTxnJ6kS7NsSMgATuwKKSB0ExSScrV6tXwRZy3gNBMqUVn8ek2cfoVmBI1prIP1jsH2B8JVZ3Hj0+9ZaScoAyi+cVZYOchT6LPs8y3Z8qLBhYF0qLbF8BfpHPk5YeWigxNiQmSHbOHFByaV3Nrc65KVvj7aMU5cuXBl4GGhaOcN0ErqDJ/9B+gp+ufN1rnFBdmd9Dw+CFqaE76OcGqOYm5Rl3dFsAXUIzsRNsT5PQxmyI8ZKamyeRCi1hIIdfQHHhEKpimuXAmRdzH0wElNsSLXoYMMuiyqzrZbbWImJ5jnPBOrFAarprNoFF1igfHCne24X4T1jD0jlrHq3TGCQ4arLZSScx/AyrJUtGRZyh+YYzYIzEVh4b1km2orXWDngDLwZqzwpRKXcGcf+MabmI7dFCXVefMTPfODrMRdrR0eKMTKZDHO5lG5dcv2mnZ9vqDn6Lg7G3qOk5w+5qHLaBg2ZqwGx0Ujge95yGNvK/ysHL/cn5+u9qVjvdDf0WGU5jaem2dY6hbZqeAZLQrYnTrrPdRBwZFk+FOa+zkKLe08bVPwSkpR5XtLKlFyxrE24MxR1MdcSZK0caFHPUn6pfNwhKPGJOJ3qeaz2cVWtR2xN3sWsh67pbxNOZCTg9SsOEOhk8YW6zA1TsWUz8QxtEXFDqVxQD5jnRUVJrPRsnXGR8RRkklWAWFkU+50JLNzJAx+1JPCMmMtxJYziX1W240rUhgt9qlFAPmz8BXWi5/3vW0lXxRHAyZROynlgsyze67N4qITMMiBzDRDal69+u2tK7aM/hVYkD5M3JcPwZV0bapH2ZF6OguFupaPI1Jcd9UbXdF15YsePjkPx2JOqRJhaHB7K+wiHHyIG1e0cddj6WArW/M3t5Xxh3KhBmZbfWY1vdIdPIviyx8P7/AoPFYbR7/FrPwZlcSHHNdiYFmxWtU2hHvMOZCJXfSMAF3KBJ1aPMZ5RFtngl8gFdTRX1rcihvm4leb1EWFOCMFyExgUtbDBVvUPK4wAA+swZuv5tw1KsYGRVhKl8lT2f/8PuKrHqmnvPqC8LuiKhpMsY8sFSaenmtxfnsM31GH5deXY0+S+IjaEpdm5sJdHYjutpH1V4HiJs0Neys5cI2mEF4K6b85ykr36zwqGI9ZNaYa5jWCnuAPteNgT9I284bpCWuNCo3SOunecGN5uqfNu96lh8MPQAK8tb2YeeFKBzR3DJeEorrimU+/IdJMKqsPcVhsL/oPCUdn7hMjbZVpNTTqOFYfe/eOw7D9tEhC0pRxJbdd1u1Tk0xP1ar5bgjF1z0qji5d88hSws5JTXCDRwGD2Ti32YBlIw06Z6neQLab+I/i6eiylObSN98yO1Ge1t4+g+26GX3W40MR8j+tesVAtAlKg9yZzcJVLTAc6g0yZhn2qPF8YRKYcwVLLwX+9Oy+oLNdnhmWYbW2rH+WGuxlSlAXDZTVKdcwgBjREZYLDyJOTzwGFSqQcrbaOcisInelgcv8L7d1ZAMF3vW+q2gh7ZRnawgLNgobmr5cGeqDb2p81MT7w4pl2ID3kY8VJgGg3gqKgt6MR2GNmQXzgqMhFX5S2dcrHnupg717/Er2/tZppNGYoGU8p9lEuC1RfKB/aT494jr7ZPON03e51z19NBr+T9r8Pq8TIuY0cWh7FmzFQqoBQvXtzM6OFqprlISRTcMM14FWf8UrJcs8dJf/dimcDo0WSpm3ze/pQDO5YksXYTf67/cCx/T0wvIxeVfQOpQTgi3t2zi5qYqSBiqblSQyu5PaQM4iG/bqCjofjO17+Us2uICk3sEH7R75RIK2bJkYk9WeSoF+WIBjH1z9o2ktZ4Wgq/eTumbO8YOpcNqQAiWuHcfu+O93tWFDqtO+v0Jaznm6Z56u4b5YQhsooxAGorIpxWPM0TvkI+VWPZ1ynwfDg0F3klgXEgNP/4Tp1hh4CifCouyEFbTDYCUIbglhCmDhoq98ARdE7L9qt+B1zDE+Qyoh1B7i03dy31nmotSN4fuvYzIozYF3b30HjAUMuajbGoTcb5yvqFU98074P2Mg8cVklVj3nTDIiZkN0LvU1CmnLch2IObUrVV9rPfh37HmpAvQafbU7o5aV5HhNccGk5RRslY7Ee4yCeHlBnxLMcL6B6q8t4c8TEXRvqEz1beRJDzYduoUs3dOqGwVyEkTshAIumN9cnPvnHBPCh0XAv3ikfrSwIWYIYKv2WedU8KTtkYdYAqOpx32FkI56leD38wkVRqp4Z6jBK5SnfCBX1NXpn2DorR09VhToKqOTu8Z92KJoVWezOTtz36OJ7QGQmHvOkFZ14S74IGbd8suAzqxTIIx+QlS15LpDOaSdCmLT2290BX2hXg0PiN+8uNdnIi+8uhoZRkv33LAWHdl6iUm1tEiupyt/BXvyTCEzxney+Vi56p8tGVh+GlcYMxbGlNLfALiOHJo6pwF3jVHV1nobjuyMqhORAMKWf/uqHfFqv1NJTs5Q/Gci9hIHptmSobJQzoQvWu2O4RxHXJG0k/x+fJrKEqz4IWbtL4qhKCaJCAuwHkctV5QDeO1hSaWQK75IaP9yqFk3Hegot7WS/F8erADQTyjUAjjYN8EbMDpPJc5TJTL02TqIEdoq77uglO1C78RvT9bwxUB87qZ0C3A71uZ+ka7basNgbXaHFB//mYLtTAWWq+BGE3vDUntm+F9oX7uJPZPVlT1oCmAFmAhol7TNPGWbN9M+RjMCXDNsIbuM5HBhLa6s+N8f6G0bu6CaNpHbycuZ2LzXdrgVfN06u6fMgm6poP8g4j2FNO3x+tVYgNtpPLht0q+7403HPSANiLdwune3aEEN9Upf1/kiI+/7jcAaxj3iwAp9v3GgUQas19dcE2wHd4UwnX2UJs5raSsl6CGMl0Wi3+SKk3uPKIx22wZ5tmbTWvMVRiGRmnUzaLkzDGHgbGATgvE62vHNCR4RyEvre2hqm/g80qIy/tigQefYnrxsG/4fW6/iyldJ7VvS+LUhk9nWwMZRj9QAx4LG6noR8XqzrBnG0y83qPjlqd9HP8hnq1scl1Tyim4g72QxUp2H/YC2X/W8aMDmbt1J15irw0+aZqcckYDf+QTGEl8WxS5u0vtNQmj2SC9E28rAxx21uonf+LLl7i5mOWYQ90oLc41d1XTvCsmVfmuvw7BkcLTil1KQeHhjBhQ4teHaGutXBMD6pJC410yYCa3mrK4W2rx+UofzTdeI9ZTZWAVmavYJWaIJbcZQZCThSIW7Di93miRsDZfs67EqoTpFlaQhyXUUAneP5LeBB5d4MpnlHPLUi7vDhu3x1LfTYsu2roDRwOrsrRyeFiulKP9rckORclvE8Vi7qrSAvGdDWz3HwyFsSTOEbLyy0v1LKHzzqbczMJ/frP4x4pEtfeoPzBzmLBg/6chw0p8omJG4EDXjgiOWSlEuMg80ipmIFDERMYxKdESpT3eT6OPjVFXVceSxZp4FQ0oiWjbRwV8Kv/SSOawxIZ/f4Xh3DBvT0G2fD6qnJq/HgtCrJjfwJ+XapYrUqwUYVFtY27itEk9jGAnomlpbdgZMQHO1GmZxzQT9JbXGotjGHbfq9XP/xFvETSSbvUYiRUOexRAjGfSfUdJz10cJoDDW5+4lzUwChnAEOCxYUqkbmkszusKK2MLTr7aIiyQteYnXiQCKsnISKbDlLJsHDLZBSbnIfU2AAtRV5BcZB8B5MKQtDxf5tsGSnTbhlyJMLZGZJ1L9eHEq+tBfM4vXGDpYKZCSS7xaw+ADZ/S1X1c8n26S2XTANGJjPgOY8KlW+1igouD+tkDtPz2+fFRNAgeJPJDbj6IHmPR1HHQXv9abgnUuNsXRA+zcgXAw1L5yao7Gsda2M35vIbYQpFJCwFpNxxSa5ZuvSsPq6x2xYYlHpjPGcglMy7QURy5gwB1nsPhlqwPemZ+PPsHADQLN/ZZNs7o60VwXD4JFFAfNO9x46wGVN+vujs6PY7pEt2InJ8JCtujZXuYcHtpT/Zz3XqHS5UVwebFg0RJ0mNplOZFpgSmS2y1bUIiSX7GPUXC87nxMlbL++ix51UVhJUwlDfjXC+ejNoHi0bB4A9kWW59AiSHlGUAnO0lKUwiYaYPmMnzs1BHkEyJXKIlfNBkFbTzxdhSy3owiRaGWUk2XD9R9h/+s/OjYEnpEAC6iXKycx68TSJelEtWdiUvYGQ6fjrNLpsgzwqGE7UhpB6EYH2Xebi7MXiHITNKB43PwBZ9OiuYLb7O77ifNIMQXX0i1t9FnqRzIChLxv3F8KgpXLQBEx5WMkeyhlSwLI+gWkVFQMyVIoV6E4S+9l2MOox21sxnOhIriIhbcAv2C77Zo9T4lEXGw8C9b0afBuvWeaNPt/CD9wUJzP4fGqZwojGmPXi/vXoDYEOaJaMyVJCEGwJMJ68oCgcSxGFpBNSlIJb9Qg/bH2lOLxvQpu/UJEiKYxyhwWYCNDprZVmVr0oRgN4SiBlaOwGuE9EuSlP8nzRYjGl6AOk62BxTqtCixihCpg9pZCg/WtV1iiMr2uC1jW29shzsXJzfMR36dhhOmVe3ShpEtz8jgblfXJVA62U/HnKL/oShnnp22nOMNc9z5NBHb6CkmHv4mbwUrD+MM5iVSa4pMUc10vx+NoOasWMBXCrhq8GxXu1sSWo07MsGmCRbRmWNAFH6l8nKIFy3vsnDkh/VyABQC+lrtHZj15VgMO1VLGKSBEuSQdUiNU+JZlyLOv89ooHAQwC034e5U7mLrFJtblFf+C8DzqZkkHTtyTWoFuawB/Zlxq5BbdNKa1Fz6FKN4WyobgyvJMI5VFx5jyEaj0+xj4TPzzW1CET/8qxmyJa6c/5wBX6B+tKoKtmErKT/xJbRd55c9gex/lWk1tHny5//SLNN7F+iKBPm1D+RNw0K1F5H6ZFHxo3Z1fcPI3Xt72s3/yezhyyTVmIGvEYQUU7LlO/6+i97SRdlPdu0gYIPDo/9IU+FFbTILrgTbK6G0wgLjOjZj+/32mLZtzkk/9SEnifZBwwfJ/szuNmyroIlveNxrC7qNUQ6hHVLyZVxOTYOmRcU3ifrvxfVvOB6R3JdiMiXBdf7YgayfpId5jjS9vsycuMzFa6J6KDkcH+qbLVf1nu2+2Hqxma5x2xLyT3chNjwE2qTjtw2vnmt2QqAeA+EBp+U/xjsTabKNIspAltoVCqlLNot4ZGPR4qjjxK/wWTmXDmNcxNe2aerGotr3/dv5I39BAt0uAR3w66P7kbkUZjHARY7eOxMo1nlvJB4XK0W7lEXi63riSaWCADBPl0pWqfy8FbxH4gBSPCViTYhLzgBsXm+evzm3I9lBz9d4DpMx3FWbQmSoc45p45dGiK6yElFhvcSCCMjvz8bd2h1RIM7DrXS9+jRMwSAowq2T6DtOYjBL5WTsGzjse72KlL/9/ENcRDVpn4FIV2+iu8G9TH5DArWOYVRVkllUE5yImVgpxRLXNugHI5rUDTZsfp03hwisrisj5JoRQ/1+N6EBjqR7vECy3dZbVHlGSLJaGqNDl7zUDJX3PSqcKGM9QH3HSnWoxJnQQaJLwNqwqmnNZFj4wxx1rfSCW1kx8GZ1poViyXEOsPio1zTQJyKIz1RCyk5DgF+xcGV1uXHm/fQEX+0qPibNIh31cI9qrUrbEw6OU5IhMBx4hp/NsjxLJ2zzYIziwm1LX3SfzME9ruyrorsym51ae/szGd2NhZCJniJxa1+Q8sK4xUDIYHIZ/mDaYi/atOhqwwENOi1Ra3oLCGocaJyZpFdRScgtaDV5Wx+SwvaRN/y107STOnplQxp4sewZFfkvFaBbwJKqIL7MLcbF9HoDjEpzVS1MwTRWw0CuHMkivH0//G5Nss5icr8WKG8V80/48oEzxJRVJy8Kq/B7uBMhKfvhLwFr+zul6mYDW3s0hGaOWWrjl7gIMbs7Rw2zjsh1iOPkmhf1fafZz/5Re4YvuUec1RUQb92CU06BNpl05HkCvXqXa3/ROUKD+p08eXY5wI8Bj+7/rx7G8SWSdlbW7sFXHk9D9G8yKFvfK6Jj2Vs8gmk2cmezVsqRtMp7227F2yxdJ0zdV3DoJqDgW5QQ2FC1hAEp0PKD4SSM1ZXCHwSg1pxTsaRr83WupOp2h2QwnfRWJixXQPYejBHLxnOi2AZ1lhsPd++RbdOCRScrbD6GHdyQ3NXbeIQGn4MGDDlB31y17aXcUhm+r6w9m9GhRn6AtMo+GCpJKzJKSOnEhix8RAx7o9O9mdBovWIzeOtjklucEOrtrhgVIzqSDWHfbwVoxHfXOwsOxUszdf+9yHVV/+NHw1s0ZOencY+C+Zian9xzexdWQYPpIihmHrGkOYqasXjhavBzGzM1wX+JKwsPhbcy2mJXrolqbpFa++D4/Oj6+AQf8M6puhjXT97hgJ5/Q2+mFMTDm+6pJVOYW5W85ibKP0QRbLfa6jtmktcD2+zwh9nu/cpK27h2LQh66yTKpu3eIFMbmTKfUhP3tkIsSY4t7VQ2uPL0F+aeEHlkh2+oWqebW0Lxl7GRduQJiLzoExW/cXw2Fps8sYE4MChNXYMoeB3AhtuiSXJ4VWOuEfZcrLOqLIgin4WoNYlNaqUO+0BXF051So0hcYsm4QrgOfogs4NzIqrt1lByzPb7Y+270LEwMXe2MY4DRSyOUoHiJK5WWFwbaxwgICcB136A83S+gWCwle0zLTUrkRzCbW2vETqah3frQWX33PJUm46yOLEjgo/clJJQ8KKc1BtWhf6XgraetXIjoLIju35q6OZZ7v0Owv7qoosO4jX3XINUQg9hmHXGen7q5xJib7fRZtrbwq7Yf+Vp2Obpn3vRwDrEZyte0QItJ24ghMbkFsrHOExCoAFY/uwjZ54Ae1/ECuNi1jPaahOgZVtDmGVD2ldl7bPeIF/tUxndVptxBGg/zld+eByc4YATYH6IpxEKej8uyIA/7ZMNzczYdLgJNtx6fq8hYx0Gc6gkmrI0emZtiMTVqwlbCVb5IxkfzfXaqJmIyRhaCZJhJzFpxWroHvXXLleXnCV1wDkDadZUcWEwLxSvF0UvmXY0FbsIYNkZr4VcHcIErfls1IUHtEFfNgBIwqF7oxaFIJknbFVBIjjl1he/Hq4uMhgAAwX3tS+PhLGHD/Ftu3fRW7jHPrGrzP5/OXse+LW4wgAX+QqcljUlbFlMG6X9ZOlDcXBEqsYlPmFdAFVCEzwomxO003jk55hfNFqe4oJp4FbSSTLSdSmCxeA20IstokTLLroTJJojeu3qdDoQHqFtJSoVVBYr9wI6I4lbPq6BrvvwOA8sCSIlXTPP1Wms40Doe7eMAChQdDXYC1gmhF4wc9GeGiJx51RJx2h3U2M6tViTbrhV5NCL88Jb47NVKzQTa6emrCBQJnO6Yi2a6hXZrT7rXDQ6dAbH5Swh1VbtbwEo7QUXYIxPwHKJAAgsnkJJn4ioB+So08ODXfkifZxdTe8ahHVk2KpJWCHgBJT3FXJQPU3+Yyq1pClhyJe2BdlSLbcl7oMoLYWwWkT/sE0ICnd6D4ria94+ZVUiHiBUS3aYiJLrARwBUrORVD7CxRYP0ApozcviUItTbi7rjQcGqRZUg6znUfbHfvyVPBYKW4e+WmMlSY3LieNDKEUOp2PuRrbL/1Rtuxzn3blINJXKU1nAu6/BHJ502DL8fdLAh+R+2Y8zpiuMQUjvGTdnb0MrKNYA0N+tBLl/oZYPwFytLgxbAMI9WNh2xT3673yCrs3bt+33jN93WK9pLMJiGymM4mxE9s1y+p0hEjMxEsvH63sWGhOjYGcfAJIG7qT9R0juvihbocIbbHcWbYHLe2RPC4nGLRqjhZgp31aINf2RfJ6QqLkufmh+G5pTc67l2yFCHMG8z10RhJEKgjFLQaivL7LRif49MYsGk5rkqemuzFzp6p10sE1aIflDgQqZ0eR5RcnCqtst/9eStBpbdELPim4s7UaiUyNNMOwhexpVsqgTIfsg3Bat++xcEJWltRGaDS55JtQMIHdQrr0NgiFBkAMRMO0EzDMgppy99sBA/7HJgm+9KN4NXtefxzcqXpjWJh67KSoiB4qo4zw2uaFQqXa681bj2AdoNbIMnoz7w+MQGJf8fyVNO5Wfg/inlcgqOL4c2v7z3VGRWdwf1I4YTJAeYdeZVr2GwO00wKWqR7G139UB3mOWPapkIn6tzXvE5UIm/LO9uX4WvTGeUuYPp/jh9UWYZf94hVFWgVUHDg9CF713YrRBYrFzlKhJ0jpGa7sZKi77rdw9OeZ7CUWjOXQ9hgimwmQ+Ndfe+y9b5qm+9VICr3IR3S552gxDqFc+MlfjrOzm3DuhIIEwWuL6NFzsWEGe4CNeD4sp+qFNmt/fpXKwc0KMkUSmFwEVMuFEXVLBZhMnQMiU7dj5HYbO8Xr+lnlTHWaIB6BaEEnkkTNdFwJxlFLLPfJ7nU7QCO5pAyeXKX3r2+Hlt0w1zXcExr0DADbMrnAPqaX8XE39fkrIC0ygGQKIx6vSMjh1ABSExxLwTD2SqI68cwQaZcmszMMYUJa2jkNyZlLGzAWgODc25nJX8PjUHdQRdX83g+S9HM3Ugb4bcn7rwbV/S4QBj07sU1+nM7EwaM2TQpjGM61EFcCixA11zdCqnBmDl2aURkGc4ucsVstY978HNe1baHXjZrCkr3BJSMq8+jmNsQ56aA0PYecJichWaM+00vJ2dPiAI2I1qb9n8xT0IWlDt74gfvYHs7lPjIMjnSijwe+l1yAE88658mfoV5ccRXZdHL6IYKX/CRcr2gulLyXbkl132zSgL7dqqL+iPjbf4xnNHky8cE8GtwwMWS8f+RNv+OqHB1TkndEzqz+q6WSD9cUK9okokb2dtSlKrPHkAVOBCD+eLqml4JcNLGcu56H2OnEhrdHyWVHqxp1+KkHb0OVpkhx36gJEpXwLM+bYJPk0bwCCwRfL9FYDKxUruikbD5yWrlM/RhujXtt5pU8vbgnXzK+xQzB+fGxy5k339rGHruEZ37BJ1Xxgj/zau3plkA2FBzkksWEyTM7Xnh0P8RczxGaRHoxAZ0GifxTZunzZ9TdKCYs4S1gnYSzhQvBW9eixiJH1WVGOuWWnyE0U+NRZYJRMhbCgPOGdcDF6Lu2sq7hl957bohAny6pFJi6/YCMPGVJ9Zkf3r7+CIrQBrCMvyaioeZSUcpHDc73Xt82GK5CvEiF0R94kMVpGXr6AFZ0Hkf80bElkVzqjVJqGHF+U6Rci+xj7dv8uREOgLw93fX/So2ubkHX4fbdJ/UsCf5ilArDOCMtJLu6g2GgKxCHPAE4uH6AQrPcdAU7SYD5Lk2M6kFlsFluHEqSiD8hmAVPmc9BA9pFjuNrlPR5sQGoXfF1xW6wjUmS9EAphzzywYU+h39Qakhi8nQMnQ9J6LPpljq5Uz7fRVgNMNr+ncFlI06KlH4/rrsjsnWjK1diLNr7Y4+pTJmr5zbKXUPzakpYybNNEb+oo9iO4d4HAqRbkgzmgf/Z4D4INFncysgx4taCar4PIje67ggXQf5eev1rIFyD2noyYGHATJQtwFKU8syhSlZnHs2oYHBIVD1G9C1EBLNlTmhWyrUuUnZuGHw9l0GgZ7ddP3J/HIlQ5i0PjmBWPeB1dXhIdhkyQ4YoUpXVtLtNN5KwP/0mabQY4BLgTTLM/+LeRlmSTjdiCY3y5Qqg59ceKZ3tAC7140sVgYvByC0lTZsEe8M4M8XytMDYHyTlqf4vQ7cZsk4lhIaU4j9hpYoZp9lwH6/lAmjNybFKvhh3G9oG/LhZe+6gDsbehoLDViRReQkgJuyL/wnPrNk6088z8PG2kJjGXgzVsdgLAAev76o7mcIxARgsEwdYe/18Dk3vc/gmhv1r+lK1Z8eevmIqjtvIIqUC6AgUjcmVaaDcKcD2/vSc43NUu9QBwPybuH+98u6R0RRt7l2k4Ze3uIKtjGCkwKaiI5V5rkz7aLD/g8uGoxeyu8qFCtrnHMJh+ybeiGusy0UmRO6u1Ag2GUN99Dm/2sqYw60lnwMUOAdBG7j1LqLj+npIrm18VM91Qkudp+jyn4+9N5fyRA5cZSxS1za+VI1zbAYdHp0FMgjtro4a0iOHLaySefoioNSJFYnrI55alJ9b1hPiB6zDMH9BZMFOzuLbb2q+PYMVnFF8HeAU5dd7sOUTM9iT89x17tP4GMgAjJR939xeGme7TyCnn1G1QiT8aeeBgyhG6b2Hj92sVMBvcL+453x0QBbc2M2TpBADFhnTB4r2qDXThx7pk9/2RQ5JwVDkigVbPOo8hMamV9MimC6XnglwEigChJCXC9qnDuVJJio/tnqO3qNQnphrbLLO16hup5V/cynhGkd3jxywn5tqBcL4mIZ+h9FBqlLeMR5D3vcLq7498OzgNyFjQJ6fLW39UdXDuURwsyvXXP51XXOkpFmO+NHTNUMDPMKqQe/HvGYas8I4DrbSE5qisnaJ6ZTAoq1i/f74/0g+JKwLbtI1NmpqxF90vLCtEYFrEnCpqjUF79xs+9clAdY0DOKgm5P4UjgKPxJz7R+Oj3KIS6p6YV2LIoElnbPSZUBME85JfYv1+h5bi5JibubinFbYPrCKJhDQruc2yd3gokIoqfWJnaAgRLoZKr6yVvAmOjuFDwjDHNZhSJCQAeOwidca9t1kETrpxcLCwl1kWxB0DG+lUcM4w+yj6XpjbAlBnWjLTfHx2qbOMIEHd1kpZW9xdVpM6Pdqfb9mg0I5wmVAgiY1LydB1IyPMWt9Umb46SbLoPGrcyCTdPZQipMNobL3OZK5STbu3SL7MmymQjXdPhv7kX6GoHe0ObK8HHLLSS1qKxi364D85ve86Da84V/SaWQxtVIvfWej0vdWdjjwy88v9vK72dEebKt9aNZPJVtPFEjtJvwmDVYlsdwVMHrx82Bgl7b7Y8vAxkEuNXWg688pCUpcgUQBV5pZ6p6lkHStk8fjPXqW1zCNFC9K/IWfsKh8A2jQHKfReuKwJFeRhBP558E8XBicv1eRxR7KH9XgIz4fvPcUxXqA0xSWpugI6H54l1E/z0Ph6FqtT3iKxq38ZG7Q0O35xv9JX+Y9+t7k0IrJyQzIzpGAW7I5/CM5mZybHu1sQ0UAoTrOCZ8bD/xexvXVhNLA32+336jPQFQACvXMvF2W+LqT5h1Pf0vS17VBvxjRvAe2oB3mZMxQcZ4UEG3voO9tA1ltsPbdQreT9nnkW3Zu6GBYp4yoF1J7ujs8UgLHf5W9zaVgAxWjC+lHKWlSp2Cb92KZ7eqGU/3NtvLHWhgm8iaTQ8jZIyJO+PYBXJf0tYzCoW7E7AaaayWGAOlCFQwV6PRN8fsICujOYzZBtc6aWDZ3+hDP06FzZWbe3ZKt/f0H9Su8YHiGlMuFoQpnnGmmVRQjm0LyXSeqM9EhZDzHP78IL8FqPh4FpUjp+YIZyTeJnLg3xUXkkFVNnvKQlhsvEtykvdJyQox131t7VCujAa1Yob3GhZ3b4YN8W3Y6JkBw1IpGp7IfxBd/AGi6Hb7gH9pF7TjgG3XKIUW4i1lYb5MxZbNQYxQhUCNLN7TOsAyRuONamwQcdWCsSLHCFm29ujDgpwQFixY44i2WRN0dqx1pQW9EHpxzZ+7B6idBCBCIXy0OHzAsVa1a2/ILXq4ysF/IhFtsTHS4TVeUXIWHTTb98I/bj8ydwEtbsiurPWFYFBuk7QZvggWluonY94WuqyPk3aaLqL/vi/W7XouP7wdJGVSQUhH50dPspF0GphalChitzWCfczW/WpdiIU8UKq/3+vh50mdQWFpJxcbdedCVoqF5U4DkWIr3PZKwMQg/bT6WyDmJ1pRdrYl1ASFl1OkHJHV6W5t1e302CXpWzY9cWglmWdfrUvMEWkMVQHN0Ootk1sz4iT8+/o7xP/MNDaL8d6yFdlRj3FaWDoshCfG9v7MrkR90ZWsvwdbSDPzD4EDFMpj6UhIHlHwGXAJPjx0vsT0baFrP6X8cLyYoiRX3Aoc9u2mb+88IZxM3jAa9D0oNXN7NWB4+zg2IYk8AEHAeGudiUv0Jj+Z329H1MaN88DQxfjFugwsrcLnQBUXig+ukcrEmOopERRlY+CKbUGEp4tF+/vXIanC+tG0p6c2fgcmyxs+xArvhvFrXrxB6TVslSu8Z/JuvVBzYX0L6/378NSBszpLYvgegnRhOYNPZTmdibBSauKwOq+yf4sdsIP+FRIVI/Gd9j4rVzZ0UDDqKRN2v/Mi8VVM/teojT1jVj0IMKa7zWk6zss0hEPyaMmeelWyhmVrUNTkI3oN870P4kX6xduYWp6v6KOx8JRYXFC7LH8mU9SUmmUqmYkj0z3vCKP94ykQL6aIpyNXfwW67JRkgEB+2nENw57hBY+VXEnOfr4yDs8DOjUPDeIp0CRr3l/KSdWQZmtCvSuCFgLmeWOxkAJcn/qzG6op7zHmnVz54QkTkBYoj+yCgxtdszly+6z2CkkKXHoxqRf/Sk0T5oogJlvanJCccR4B4ubfMtuMEFld7jLx6wp5vEleMsvKTiTEUUbSx0gSv9+9eQwR46+Vi1oEzDE7/uOz40+F64s5k1Lnl5uPeuIW1o6lkQfv/fw2uSBuJMO2ShujI/SeM2c2dU27wwDpGzasEhPV0bX/LDMeOyU0rrGaHIyVgsTIf8Sf4rb/M9isNybQylRj9+iSI+GvTLYWE6s+Ad9tImyA+37HwKMEVis9Z/mT6vKQOUYgBtk0oOIjPNBupdlv0lc/MfTeMUMDdfhuZe4eJCcg5h6OiUc6lQWjshhtLCFYufWI3IZyhnIG0aXIv+wzme+vDEowPGmBxb3wQA+PSTzm3ppKHUIFwwvsMr3zRBXVCZa8wzkD2ZbuFqQQSNZm1Rci0CJRCvX8vGCdAU56hAP4cS0jRPuPuYSHDjSwRZE27vY5a+q/7NwQ8tBsHOqixPP40zH6rNE+K3VsljybIEnnnhv1DWElGtcjEKkQWgdVNZ0thGYTkQZAQsIRNHWE4Usprdy47ri1LeE+23hc712Tbw24L+ojsDJBI0iupS4xppFuf1ykrKAGfYnCxQdNCaTl88gkL9UrfLLp5im8soI7LQM5A1p7KoJqXBS6YW8q/AgtsXYJpNK5zszfA6prMq93fWMXAlCpTErQq8X8uI1pAJiZ8DAjh51Y3YECwQXDuvD4iJzladQjKc3fio0h/oERHm/NJklNzTI2Qf/nu4E+tKrtWqfDEAlEmj1e3PQuKnI6/iQpt7uSuUOCICUWaFuPzsMwEVAnIbdCnMTJ2KDS3QcBktleCMTBy4vGxAothbdmKUDJNrxC7krMGqKPYHjdnKWZakcZdz+QArkM1pM02F/6FkksKAdBJUJidGeZ2fUFm5z7MaDk3DManBjxgIPyH9VtPcDc/9G20joGQVNcHmX+zHtJ8N+vvNUjtcge5iAnu15T/LYGnmOIp5qO2/csvEMKoqXJjjYp24eHXjALDoSY+R21lNvtk9+Gxpk/HC6bmWjMQhGGFvSIvCd41Qk3rAeFKCS5xr6VKL97neTNPx2TAoNO0HtiID9VWX1EmiY0ELO7dFTRMyIbYlcmonPOblXefnBuqXmqFAWN1p+YJ5CNWEyFha0hFdnQGQ1jteFDP6GqH9rmrtnUfqB/SmhWfbibhtTXm6gpINCZNTKXiucwyiZfEFRhOMH2oLsep2JUjSsnMkM6ew3qb+oJ0bJC8t0H/85DVQukLSQCPDGI/68f5SzZlI9Ly4sKv4jXXy5i2wLxfdue9ZDMipSgGF+hV3f2wC4vVg3/Cdi1DvfSmKyCt1irgc4iYDjLLL76T0fKgii6Arq5VYPIYxPzwwDIvfZUkrRGd9VNhnWfs6+glNKgKT6JfGRiqjXe28uqpx8OkY3cVodK8M1PUctOhRa93V5mtvkcjUSBdouG4/X5Ll4watU+dEovHxN1TuYcIMEzozBX1qSLbpoJg5wKQD5qKuRcrn/k6ickaPyFBNf9/cK71/6nSL1UyihbvUp9V9RswNmZqqNgU4q6gIMCJEtGmqyzBkwjPZv/0R7+wWaRAwYRnJ9blC6xJJa4hMpsy8NrP3Z/fVEnFYAr3GpMA1DhDayz78cOnP1PYb06yYoEQTs3JuxJXoxXKs9UNgGJ6YmOz88aA1BQBS3Mfgns5vujUTD2H8AAmvm4/SxViewKtGHZdw1c+HjPqhMJ2r13gaLnqS77gAi4zlf/qbYqPkZ0H6HDOPdo3ONWdx16kjVBJfsIMcvcGVxgTJvuEAm1FKpRkEiol3OFFmPt9dM3AR1J8XtAdl8Uyeq4SCWg1Ln89Q8taCL6kmNpifREfH23C+OqP7dPvtcFnkxp7czZ/r8oyLo13PYjnMVidG/FJDcbSduoC9RpWKswKHgQjx2Lt2hjK5L6WR822VO3X8vTXJp6jR1uNiwhqutLGTFPw1ongX21KXSeHe1F6HBcoIeRNmKLiGK5IKnQwH1SoK8acxocJycDN515rrjyXgk9Cu+fbdck6vyz8X5QEwjiffa7EdiKO6/Sg6+/++d+3CKOsPhYS4T+pUP+yJWJO7JjFQGU95fVubfVG1lT1Ii/rhOcxuhxtNj6HO1T8S5LDzDCTPjS/VIqfxWPnDqF87eaH8NXfiy/W1YKGGvGAUNvEP0Ev3HLzEUYMB4Jt4eK6bKg0ORLmDZhu8sL7lNxR+AZGZwQs0SoAIVsSjmQHZw1qy3OuINhmY018zkfDFjPIFKYduZDOijB+HP/DL2G+aVLqOn0LwU24uOs45ijupG4OboWMKlUby5UIJF2fyDZ9WLdbtkg6SAYsQAxvLFEQBl7e6zKfgUGpUWvi01stDhydlMOxeNaoVtWxRrjvepIPuxHa81zT190cgsAnkETCX/UHJgGVTi4FtCt4tIjQMZOuojfdnhDkCSeU0JyseM2oXi66fGoVTNt5emMs5AtIVr0Uk34EWdfEdGMeoLMXf58a/Em759AxgrU+FVBGHhtSpH+WZTEKBBpfbBDGvdqD8PfiM2GFcFiu3d09EbJY6dnOOWW9/SyIiB4VwNkEMMBLd9iOoCwcrQjFntGy7fYdgCtF69M3qDi6j8yMAUx+TGPKhbcu7X4fijShv8LTEe9wvDOEYo9eC8OsQn2knJdjhr2knPSMm7exbuStdX8C/kcZnWwdXL0qlMLYlXITrrZdJbLZH3cPG4Nt3vMg1RUNJQb4R+55fwYpoxYaYWzKBuzgUJK8DPFlQjBlLAbsPAtvRy6geqOUwwp6fkILR0AERCdKtwLHvlyRK5/Ujy8NX6WgNf8E0/4fcMbhvg81DGUOYwJDpe2uZka8DUk5/idjcn3N4Ax++29w+DsFbsQcRp8U/N1ngH+KzOhB4eXOPZpbu+SasbyASEwmFcziEXBfAvG1WSms7wy+ZAP3tnt5kyOuH3/gi6f2neNhHkT9r7nv0zB4We1qtQAuHSyu27noCWWO5JNmukgNs1RmcJpNE1TCPjQYpyrts4bq8hRm7OYolDnrvb4UTY8BkI3gnKvQoUpPFa850eOis2vdIBcN8QaoGlasoYd+qbssgR7JfgYwBUOhPk8a6JxqxzH6NtlsYQKsD+dUzB6A6JR5WiTxe/12NF8gHymxiV+FwRYf7ZP9oaNdGhcaBpb6xy5UjkCDDZbdlFBvLM4/wHTZy/ZnJ+9GYiff6AL8Z+bNpCHNFKjNCbYG9COfxA01ZKft+tIXjOMlVDvOLQ0zdPEL+Umh2stmUqiXSqCS101j26TR/Bxn8Km1EBZCX5aBFeIg8xUEgJYasxTzsWn1IJPTQoQEP86QkFqinqbIxpBhE5aD5RLQlrxKuXgE0Wh1u18s+8wzg7G/N9oi4SaX+fQx7SAreleVWPzzxwOsF0F4sQFf18k3PGUmCy+ZeU7q6iC+0FFjMrTjfEqwcb8lKWnCqvC3q8RRt51ja5Ju9C6/YvjGu2w9202hbTiH0JcjS75IUlspo+66wxioUY1G1OT9FiYc68oAFcRasZggwUaV6scQN0ukjJgBVy6MNU5Wi+cJZo6sgHZHg0vEjJMQjnqidCIVgetPNOuw5kl8oO4U2xSIQv7A74M2251+WZH5b4BbgCrpEP/Cns7Cgni65BsAc12znyRgJZRBCPuNSu8HBCeIgKAfad3ty64pOa1MnMKH4QYS1SIzl3uEbGheh9ra3NUmYYdQNKzBtXm9itTNI3NRpm4UNPi2NWS+qLMCfGEwFRzluUmls91uyA7JxBZyI3G0EfHuGvkNymWvhaVIJXAroGl2qYyKPgvWiLNfj8QEy/lCrmO1JABTa8uIFtkI7tSt86pL0uXhO1/WTNVajjqe8OGLvD2mx9fG7bWt97vsIt71B2yuIJ4/who9n8578UPspAVNoZrAWHlAkJQkn9DuX+tv9QCqYge4uQMw/OoY6ILBE9ktHRS83WB55VUq6VROhoVW7LII2DS2RTYb4gwk1SaDGpKosHa9c9hN4YDvCgogMZCKBNRhIlJYKPXasj/bckyYKYFLuFxxGUJoU/jz1Pgcd0OcF4xtQrIcgBGIXQXEq11okyuD1UrcDdPtlawYRoyCjPVghQkkUBIriMmbz9LOr6etxZwXU2uxqKHGBmOdzcQOXCT43Gb87bryFFb9BLdxOR52VjNcve3vbF4aPnai10uKWP457holxAXLo5kT5Yk5RkfmnZq84v3XEhOC2PvjT87wiPNqBecn4NBO5DW23mz+qFkccMP9A/wJQo/CNICibvD0UqLmr/PmHGCuIsfaypQHEbFekPRN13oLkH/LqE0q44KxUWQucGXwWAy3q6HWiSSqy29YCybvF/PbDcvuMSVVZRrOPRBimTExddCSmjWKsZ1hnN77xAbm583BjoXtdZOa6AbpA8z1fbagD0idIK5Plm1if4sQ1TRqAYnmCeqe7e9DwElivVz3d4OfTKqhi76Bbnt3jzVANHLfeUOgDESgRX7GsVtf7JydtzgkCyEWji6P+S+LY7juRAYeDT1t5RT4oJLjXkOoubjjcXcn0eJSkAaCiyG0MK/2qoCy32FfFbBGVBPAZtEmh7its8AvRwCIbq+MPPBMeA94V/sZSUJvdxrCg65K1+Br9zAZr4XB6oIZFv/f75VldvnrdihWHjtCKXr/CmTp1gdRk3XNyvrhAq8RdCxlo9CrSswPUkVLoQ2lIzWL23TmaSCeHnLKT+CgUOEm/ua/AMDGFIGvx27Oi4crM97nRl+twNllzuTjiekP1cYRb8ylsZUQR6kh2glzxL6VhCQW10QnGTbIBPahJA3AxFqKbaybMUqeF24o9dps8/1T1wEAElQx/Wb1ZweklvmgMSB2YlKeUSPM6Kg/hFRJbcYu5b0mhTy8KLOx1SrOz6sl03IbJWAuZWsQNh7MrUgatQiN+P3nL1N+wmKcZRfdyMFm6Td0uRRe15LchFXfYkSk0KoQPJFenp8i13NImylBq2j5PeyYKpgnAlkFW5DYiI7CPxm+vcJACAKuwLDlRwyW0J79aza6bmLm5dqyQnUEHw0XxQxkCjzwdidoihqHYUoBRwGOUiD+cNXLSmOb3lqtyB0c7muM/da67OPrSKY2wzcRgunHqfepxwRtZtzN3NO3x2gbLDFQi+/PzPWWj2TbW+Tfo0JNdivsi4XUlYM+2Ir215n5kCfbD3c/yNZb0J7J+xXJiGhSdQRV3UL12g6YTVVF2dB5fbC9P92i0hKBYXUzNamPG3Kt/201BZHOz8G2KCG0iqn6GDLUNQUjPfNlhEmF/C8GAXPiXHin5yPEunc9dj+g5YrmU7cS8LQPf9/lsNuYHdQoxkx5f5qPfMWyTjuTGPZ3giP4wLvUc0UQpL1zOcIOnIMAJP0Jn7B7pYixDNeo0yRqCWuDrvE5xhkjElKWos6VAX2X/s9Sh9L+WOgNMFylbfUbe3DvPfU6koap7J4Lyr/G9bKSYuNMt6WHgD96mykndSzYphqweZAIjAoqQf4E9MwHtwRvsIZHkMorySRiDw6CsQaFo48vlLJNTTQ9puVcKY9jKRFFiiA8ToELXiqIOafRadvmP/+ROIE+Slati+BHLt/fi7Ew48K04oRipsutcE+TbrbdfYR7AccEFAJ6iJPmvu7ASrnvw7x+/VBQoNeR7zX7bWxmni7M6at3dBuH/dpaNnideHDEblt8d12e6tVYToA7Uz3MI/6lwDQfOnO7TObLrR6RXFQYX9wPjY4QkE/TgaMXL8oRQYdPcXFgFO4Nna9F+faeMOO15S4Sh3a6azbv0zgTmMHimRVI9jYWkcCtN1fvVmd97gmiM6XUtsHWSrFB7GtgokWATKydHcwn1j9QtDEf3gsbQ5tgZHitqVCJlOup8TPfsX3l2dntHF8aY2xsC3TQ8tt8JeCWZLHpF+AX2KEzSzfsSWFeUBDsErJBcUdsW2m/y53ZwDNq+ZIRyYbm2W8/xzgKW7W0AhwmXvbrOLAtchyHF2aJf5H7I+BKl1C3mCA3IDGxv9rPJGyjPCDtXgN9NpAgZqrwXeMig/7CTIP2BIY2PnxkYzs0NkxirxLKL5nP65hQYXvc1IkEjPYwP5BXX1Gi8fsrNEVE1NPuyYcBFS3cX3zM+Ftmu3q1pKmK" title="Mekko Graphics Chart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105660"/>
            <a:ext cx="8232140" cy="2313940"/>
          </a:xfrm>
          <a:prstGeom prst="rect">
            <a:avLst/>
          </a:prstGeom>
        </p:spPr>
      </p:pic>
      <p:pic>
        <p:nvPicPr>
          <p:cNvPr id="35" name="Picture 3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xRdLyPBQmwFteRcmjXfmIxmj6W6h0580lnAyID772Th03vSezAVOo7je+bJJjztATizRjo8KBDXlSV9t2vpyu8WGATv3MwhYS4b36zMQIr8dyJsYtOORRohGdqwsCWoNcuqn9yVsXkNZfNdbyta+0tFuGBITSCRhBaEdjQwkQLs+R1EiMxhcN16kWLRhx02R/bfTJ89Yy5bW6E1tXwU4FGfFIDkhQRK7pI+87dwbvI2sftAVCUSRIC4S6KZfc5nvhUdeoHfiYQV3tmpC29jrs3Wf7ddO8U4L2/SQzEma0GFoZ/c9Ex46LN7VNPwmd2jeoOd8et5N6r/8K8hEpdFE8ZQbIbWmqUZ0AteAImc3RpegaADhJBkUU38x0nYjnyYYw2ii2yTyk9eUh3b97EgHe1JTX/3UiyhGbqJ37lIPRBTUBNl373bFiZFxR3tCwGhzTvnHGUEa+LOon+xPkkhgpAXtMrqt350WkL0pyo9jOb0N9r3UyBWHGbSNgucXWY0fkVoSUb/94154gDA/eVRpl7SmytMQPqe4v5sPbmRu+Lusi9czGqdf8l2rraJSa83UJ51MgOiLVRXOjFWxjcnYagtjQ6mZkBDINkDFmZu4Q5xyJ50xwmb2DiSHeifsNbg77qZcNsL325GnYlrCf9ZGlna4An81Wb5DEGOtK4SCcM0xaG/OHtIkb4N4z1K/hRfQj+jnIhsvZoDQD4wOwtx363U0gaqDkGszQYr1jKVgBcK30u5nBTH5DLKs21ms+daNG/CnM1ToMWoO4fyh3f9VtGlhC2MmyuMj0KQ9JXiQTQzpcQEpw4KwmfXvoffsFqhgVAkKKvU+nz+cueR6xkxh6dNVI+bJX0O4zi3otwkVWes+mkRr8Tye3FN+yNcta/0Drz69F5tD1sHbLJbtCXQUOk+yn/O1oh7EziLFuTKQj68vLopXWbCrDD3McbQLrQ1P1EdbCMZJPIkAt3VYMOwOKTP9hyw7IGEJ1O9qA5bQB+H1z/Xswz4A2kq6QBziHJ7s17fod6ETHIGPGrSdg9fdKt4y54cOS7LTW268BgH23gflIzPfssvLf8XOuARcxlVobd+wvojzlwRn7+uWvM1GGpZuWqtEEFgHwthe41x1Vmo2RHfjVWJoyCINVSFxY5aK7N2EmqmRiDU60/ri9BZq9zf8/Ipj3oqkd341auExuOKmzGchBAjCahXbkVgyGkFIFnafThHA7hXftb7OicFsJ568pShUz98zMcso+KPrB5SMGp6L2FdVdMbfmDcDCH/9oCICETbmnTRQoqdJ3W/8Qr6rA0YTCuVd2QSYIyccpXdEuI1glexnzNeC/30f1L1F8JGcp3LDAdCjKzyq55SgwQQnjdOMt/Lh6GC0tnrImyx6EG3HjBjuUe5B9ml7FiR8ybR/qf/Fa1hdAmt/XKTSOg6I5LFggjSvLLJJMB2FKOVYFMTt8rZ7QK/ZAn2pBUyLGzWApD61oY2zB2L2MCHJjzpmt/73Jai9XBINTdb1MVfE1ANFaUjGJ6+F0G8QRoS+AaO2fInKQP8t2g16Iv1SSgrSXv1ieEPtGg3DBuXOZ1wuVYX/Azd/mqIbjntcifWrDTTpgKImjIruW5w0jXxC1BmWGSShLyFxcQeZY3iFMIi+KNYtILSD/A2ySEMl9BxHtI38Q8qGJ8hJVvfS/XrCI53JRdpPUQUOAilusohj+IPHlpfdIc0GQaGccf8R0DAbtuviy3evlyR+x/nbwe8WgTe/2ydF/rXOm3Q6k0nnwDh4cAbd26Re7kMzHCICF5Vr2D4hUQT2clBLgK+RUwv+7p1Uk7LKlL8foFp5nHQXY4+qvtd8rVv9gsljfpCQMY1GgzZt7PmklJnqgRLInvYwZnoqUSjmnnZSAdzgWNcnw47w1D5Bt/aggRPvON7o1YclfSMZwD06Eg3PRvWemqrUdQLQNl/IzQoU+4JACcP5gsnk5Y5VOqm7/DCp9sKuKAXvYDhLhIX3RCzi0cdM4mK/rnZnZ88fhwKs/Q2PrrxGvrmKKZhuXISrGRCvHH3yVz6DS2Cu5JvTbJKfrgLZg4KX0EpFqAmX6Kub0QLT2+RWoVbkgbFNe9OgwEn1saSsT+AxRo39Ke18uHmvujTLDptyxVOCZvK9doaGKDzgYvmwUDSXirxWvOtEaflXJ+SeHBY6id41vA43sYdHwWV1TTJCJVCPT1I8P+CgKViWLNEtlWowmQvR15WVKal0gd0DtUfXT7YdY3uwjZjgpiJV1ZgfrkOJ9IqKmd6Z8U9pIb76Xmmr59kDnxRd21UqDntu58FR+rCNiQ9rZusAA3QjxlyohE9LEJ04zYmp8cgwgjB335rI3GlmCQmTkBugsbOYzmzWtQsqJeiczHqces1IxrqYeUo2Fey1LrixJdWxIa47Wd65JuiH95coTrZsN+9n6BZ6dmiYYt0fEOQjSCeHvOdZ0RBmKG6gphFuUSqpImH3Uxs+kY0KosdmliYSBcZ5TH323aKHITiYphRiJGlyjIYQqS4PhhZhi6WFKqVBa7iJFd5NpeTvfy429QnFDsTKGsoUr4pVotWIVIcoSrI3Sii8vMzVHyZyAoy8seQUMX16UDjbaU0jw/kGuMF954ladVLHEDESxufEp5Uq6WFBpTW/gIeAvZg7rshJmXRQX4yzpgHZCWCOT7qwsoYh6hHURZnxP16/by0A77Tvi6qdrEvyjFPuEaBaMfQPit/G/ayTQHjySYkrMNRYsqWguoPhIG6Sah6fpmPN+yligSeg5TeuTNnCgdtGEwO60jyl2ZKAr9MMBnc0ERhCAuUFh+Sm/atcFbmJ/8MLZrRY0hTV2U5kMZ3gMDt4BKLgxLxxzs+GjGGR+rRzsuaOZXeh5abL+vjajMRrcke6IdStETTDi2ezITCuP7+rU1p8mdY6H2A1Exybtzodldy391EuaHYOoHwnARQCh7NjAI/A7NyY4ZLr6AFQN25nBMh5wKTZnKxyjTfaCJQ2DXRJ6KdbCJZCCUPz93CcBPAnfFlbSAaQczoo3rJlguXOK0mR0xTC51HrMMfTYuonX7udMVenpK01CgsYhwzUybA+8g6d35JWkD6EJ5lgKxVdbRyIwIUJIiSVh8RJw4LLoDzhVnKFnRWRG19CJeN7jA1q0MU6sKyu84gvo2MKev8uO4fjq1Wc8nL+0JT+sOKyCGBM1DgMmDRaK/LjRgAdD7mD6YTRcpbb6QiiteOYkIGlJ5XcqCUbGTQJnCmd2ymLVRLtpFfoRj0ZRhLk5H2tmVm+64h2E4OdAip7rhn73MkT7MoyBwIO4YzZz1dCFNPMo/w/Fydmpc2QDWxMuCiVs2bQ4W36+LtE49/ZHLgGjLJFwZnvIimz+j7IrtHZhUKWfTK6ND2wfJZ8Yv75xaVh8mf0HgrTFAfGp5yB67WwQ1Dzl28eXNUTrkmPVgbkWUtc9u2+ZoIx0NthFn3J0Jicn6Fp3CQ8qkg42c6qdtTFGmVLUiFlYYK76XIijn5+3u6p66vWVAuxkvIvSdHMqwCEGh6YHCGSwhQNZl8urD52Ox3EggaO+wsblYtGfjziSDB14fIWMnl1koR0kkiasoHflVCGyK9N6iG0XnFLJnOTOX2VAwt69xf/GfixB41mt+T/YqMMlWQFLtmTXqPrVMzptURVJF+nbvMqllTHH0v84AHVSpNsBkfam+mIxTt7RI8/3E91lBqtLt/300sQKi+E5N/UrzoaagdnLUd89Jri38hmKmrof2/Jh6FnDUtxCZM6UxJkWzQ5fjs9J5wmdq8TfEdXW9Fv36ApSSkxvZLvTLXZFtodc0bZXqsWEn3xM1fCyy7IfASNpy3QexE+2Ce9FEknmn53mRMFStzWqJgJiJA2PBFILbgBMulHn6OjbnB1hqJLw1komAnlURMgTvF8LyBwvzJSWHb0nUfzYFNQlOeZw72WP9mxmcoEokBd/doXgamYFpTBfa7OqRYeM2OtsQ5xQZvDjPtv0JkbHw3EIaZXVjnS3u3mF7U3HrgHpB/fCxdHkw/CDI9wsbWdzQdwlGSomofB6kNHPozd56YZ3soeGescS98G3pXMlJrThhD6irdgMf/MWxpL6gTzYwuZWKEP11gWuiRca0JXkyglATXdSzy9kyMuGTha2nVjS/O3AnMBiNTBK9kcBjIYIsqFGHuu3hgZmOcjLp9W4VwmEGh9+URMr+ZCkKY1UaQsUvCq7s1F6ieZXlOLc7kToKJ+r9OdHvIeI0ncVJmNTS58sbc4WurtvBPgac2khWQ2ApXc9TVWohMDhmnAhXHxpTfX36JqTawZeaE87vgxC69Ojqch9xmSNabrzvi1Sc2YEWa8s5MGIvRMkJTwLp7AocmIjrypEr3Jte5LKCC3i8SVAsvd1M/ulyKt1M7Hdac4ZbNEBb7nI6/KBL6nx4/XUz1SlLJw8n0KdC8+V5aN8CPJC1o0gAarz1fzQ9DGN9T/VcGR4Q84MJ8SWRQ7n13l3IG0Go3RrcrOsgTniAkzjfJ3IYSJlTF/R6iieKFDLeM0FEkCPijl0k/TgZny9/a1nxu3/qKAmHY1KSidGhrJ0OJWLqmU/wf2w/w4tSZfQvguATeWFv/ynti+l1qwOsv10HGqozsXrMS9K3W2t67B4vOWJdo5hIsjQZd9HL7u+Jo+PjffVEhD+DCP3Gm/kamW7ncD3G+LOYKvp+5xIR0Z9M+/k5uoxL/1uPei4W9IgZ9nqxbUluT6rSEO8Ft72UBljMHW0cuaq58KWQWVp47SUy3x/tord+0c8s0lFGOCHyDpoojamDH6KWmC5f+ySKUuHXLmpXcMJ+hZlfDg0e68+Na09BgQAQ/p/ZjoIrkKOV5PaO9S3gOkz/wGq3rSN+akZWnVfEwTtQtupL6gI5K1PRhmGe52DAHAJmZCcN/ys4DW8G38EzD1mwgbP+dXmpwaw0me/rql7/YjU5poxv1/th91jQUbF6mqznb/AgQcCGbtKtYCkzFQvNfLkGWOKAx7QUlxd2Zm8CuKY41vjYkTaDIXgTTCGIzpabQaKKE3+FiD2FoYGC6wnSrEJ4PnQ5e6had2I5u0xduyd0B5cj5/V4C6hAIYjpWyZMIaYLWX9ds1LS+57KBbtLjGjfUukAXL5XOjKZubCf4ME5i3fsGCUf5PCl+ed7+7rcIEywmBMWjG9UzkCsqFIt0BJCyFUKzwnc7jaq2OyXgpTrJsDMNli3+u9lOOJFtU4rZJyLQvLCyBXkyVI+jW5rjdboGyenjy4gid1jBieDLCTvFrCw2e8dLOBJkLLdh605Sw4yv4BkU8gynPSfNGEJE2zRXErgZLBYmMAKdX6NNudyRzMOIhyxKkrzwTs0Se0pABgbLbdbUICVPv67uCoC4j/zwVIQ8ZNiGS6o0f3mZfa6ALva5cAV36wXYR2thPUGGcuh90ridiYFrmvyBqjNnWzfRkfMW1SA/hpL31nUgZFJHMis7m2AP0hWMk6ouVzZ/aoHTBMemixJwmUPgyOQjLc32f4rHFJOZB1c5JZ4Ha9fMLTI7OwVKk5/aDriHPO/TWJ+Tt3Ac62+bmU4IFuUSw4H8IVRBtb3dCCQT0BitPSvKUF01sJQMkZAc9qOHBcd3LzmtPK4kpdsCrcy0DWrbiZsHxzYT5feoGDpPjlVRBC96LocjX4VDnnHeTIUHhHeOy8b+I8vyczKozZI2omqDzkvsB7DaQxa0MiLCc2GWgWZ8tiWR+BNkm0tckYTvbk34heYP1tX6nF867pIgwUlAhmfO31SfsxmOvAUeHA/24OtX6ehtZZjEYZGHepgNhJ8zbvtEsvQ3Znge6EDM37ZZ/CDmczX88eo+34tbTkmsD6g6tVasljx1SzwEIJi46jjU3fOQSJZgP5AiTJ4W/oMdS9zU0fF1QVUfz/qNN3fGrVPtQSTzyFDqRFxuNy0f4Id5cBHNFkftV1LlRbjPxnGjh75hgx8OI2Dc1gg6TOFw8E9ESYYbQbGQDhA1W/PI0bylnheUeEoktkvv0XMVCdGGuzm9C2fbSR8m8xQyEDp+hEMG9iPdVnAMXMoAnNQ4iHEM6AKdC2wc6LrqHajSeQuFbpN73QWGvnONKlZyQ4git6NJspeZ+VHPbmjqQJ9UX0f11kSPy7dPnKUgMym5/10F68e7SdmO74vUqyAdCS7OoBVfihjA0NPGBiQSotAr5JjMuKdqVFWOA2IyBHxF4gkOUJHjD+0WWVllJHjHptTiqd9mKXRtBOEU9wvhkZKIs6Xt8cyAQP0jIXBiNjc7t/1W8Dv5yxp+3Ct8DXJWIKEKYTg+bzs3yjh6ATsbo3a8hRHdOn79p4QVFcJClmJz4Q8Q6xvjK3vgSk0+jOTIiHnxLgPcn3POOQeGdjtWwLY4jkp//06wYgppKjpzXEM75gz0EWWlblh2Iv2U7QJyoZMd9Wc8XD2V3oucunFfYfN4WPFyK+EXDcZ8BEJrIzsBc7FIuhbUWejPAkeDUfGv5V6xf3ugibWCjqXJ3vC5aVEmEAojCFEzaD7k8wYANrhQ4Hf5iG7AI4xZYHebtCvv8jkADbI9lHi3vZrRDySZX1xgNFICZo8Mn3TghB9hRKaJdv+YPzUW45/OCaped0geL25ivOfQKdsXp7kTihCbRFVBt3ab7HhtOVku26+TmgxisHVywfDsS7NFixFFM+5oh+GxgfATXUEnpzM0KQ6ajTYNHjIspBwJwsKxwjIWN4mPEuThnZ7vPSZchvM+b9FWcBIlJ15qgX4w2SF290VF3l87Byeoh9BSc1hL+dUArhPVJnK8qntOsWYRr8ZWOWUObIGrhDHbfYvTNmZn9O9oN7nlW0UTZ617fVG2AB4w92tzJ3ftKPoaHF/hBqmEWdzQdkp/Wmgtr1LIK+SXPo0020+E1omoOiMhWtymOONkDiSRGoMxy6W/AcVE/elTGxjSqz3K/MfOBEY3SRtndBGmWm2oy/AB1fIv5VE7n6FGICOIvChGO8lAVPWSQggpIjPL51aTF+FJ9lFm9s/gCZWcBPMfumRCQb0JzH/9JO7Xvyo+ymTE19XW4OzLy+roHs/bBNaN+CKwj3hFqpwKDw2lMSEkTaPiy3b4c5QtP7mfhw1qWzIWTxFBv0VErZG8dxtARtEQsgRQ4FkU6NeEjAB6tBUyTZugNdvIoE1sVZz7sw7lc5MuCExRgu5F3AEOhQNr815NTR7J5GhixBIUb+Cej9Jd4FNQ+8Li8qmSvUWVTXGorVTBWeiu0UBZwj7lP+WTBjmKL494pKIqFAEGxsYIoR3sBz+mqN4NtKwNvzxhWAZ5/4Vb/2j8Dd+7SnonPwSxmuiQxeYPl2KkeT7lM8tn9DOSMhM4H46l4JG9+ev7RcV/lqknJh5lfzFlIMu24dUc8Te6aD/heGmJoGETxVZkoTPsKMosOPugQI9iv2jN5jyYeVurs1pz7/CGut4pJPa0Umo6PsLnZtjn++/wvsL2CaSvy/JQxzmA4D39J/VgeLhJrNU7K2Sp02Um3XGQYMlxrxWFjRnVQ6dE8x08V++/9mE+BE1c8NkWbUEDDQlvTbJblNEPrAITPshnSg4E8fftwADNppHmMQdRZUqIReSoJzGK4zmviiK9zX8w5y5SIELTPpbKyVEv5o35642aZQgAVsXOvjPMvobfyvYagRft9NbJOC6ZMfAGdOfXIkn2JwtSwJLskIrkXcY4gR0PNtD+NhUF30DIJGYU/8Vecmp47mykTZmyWB3Ptf+42rwWdS/dVxY0WvKfd+8wIJvkjxN3V/8w60xVA/HWZEJVG34FHgMG1fdFdGpuLwXV6LtPIB9jxkT9ZxuWHte5z/VGgYakqx7o5KOBkFTiidKRsT5K07ekMRw6r4kDQvbW+GVRbbB+DWWIxspg3802bXLgjTxkxyVu37zAYPqY1Y3dvHmYu2MNiFCkzIiuclKLlvH1cQQq3Gxt313UeLx/nHkQBc+T0vND0nR3nho1BSy/oGGHsq9Qn+epwGEOnsQb1NhWfSSmUntw2H7Ypd8Hd9UaHhi4avK5sZh6dgOKBPWSgGVpGegMGdVgZE/jJ8dmtfzG8n7Qbo1ZkafruVTw0PMo1XLlVFCnB3vY1Nv1PHV3L8ObFBeml8eJ4gxjR1gyr8edOALZlbokSI4YqISWAyaI92bHbAy6u3uLKnCPe340BEsv5jpjWpIAZ5f53Eg0n3cZuQIqe3MkU1Kzdr2ezpP+onsRwE5OTd2wWoBqh1u1/CPVp3zmgzwoGrTYog5YPkeC5lIJLXdMzOLTBWYOXfDDU7bgLGFAFRAyFQr2DN/21KVuK6hsLjNqYE7bbfFxK1kbZsQzXGz/tNQbPBZH59LUrbja6yAIrwNwrIIXT/kkbwiDG8S1WXEzbPas2CbygbSe71tm1NCPbUlJXrOoT8iPyedvc+N9CNED1nQt0S+U6/JGdEhNZbVU+pDd6U+QqtiEaWvI5ZqfS77Urz69HXArayQuXAmx2/L4YSV3UlTmAe5xlkTrzYstm8Ep/JubvWAam9kDhDiVKpB8irUs/EFgU4Wz5nicW5NLB10RQn+MQXU8IHknzWUWK2k6hKheqg7ArXouw2QNZa4aRBFKgP/oeG9b1JKQVmjJzld/vfu/S1sI/yks5GRuRsXAFTYEyb6U55TbUgEE5pp6gzOUXmG4Xh9Xt1E//s3Qi7cTsnb2TrH9wTP/6x2CDZBhOGCz8tJQDCAArVYxe7aU5ZFB9p0iFencyzeLFzPhpaY63EMEugd+B6XCq1CbhgiLF4/Gf+LaIleNFKxL8Fw5sPUZk8LGhMk8S8xWuAPTbi1EQwvl6skg5GEzh4S0qYKTdthNQhDAG0CPL5dEsElUQvZe0uS+Ge/mw/rJbLhvXn/W7l9pCUvVs4D7d03FVUjUOfGGdmFK7K8wyqNDYmYgT9IDTZjRp21t/HFRG0qWhB3NvHh0v4bpdcSTBY+qrsROZHLJuWELkljYsWbGya4HY2ok/p4aud6f9aQSSW8ywZk/Bnx+Ccaek3MbZFf3Xz7KRzwEppOPCMAxt6e5zhEvDgZIanrBdLwViKitV2M6AKFjaIICB3UgnXMcuxFqtbh1PLmkChUJN+thGFn0ombGWp6BdSynRG/q6nMqalkhVjAWEdbTQZEVIxXoQU+G5gK1wol6k5z8UGV1tzzgfELQPTy1OFgBxY0hbko5sWNhLYU3e3LymZhlw/nc6MUXBgtDUNAbNym++3rgt+eLxy+5pHycAv66AjRT0zCeMYD+FUhtfw5OIabokMx1ApfznPQv8wHp6FV1CWMd/kAtCHaKjyBcaIByZIe2wJ+lp2CUPanLxAkTg8jQuLXp+DT9DrlXKxVmZ01IfOYY4OI6xR8npH/w+/V33lmacPI6Zb//0g2oMgTuJDlwwFtBVhXesh8N4BezbspqYNshAVpSRyIktJ0OrzF2LCTiMq+zznxzTCS8RB8qK2/7/eOzsFhqQqyMqDjrr7jcekrxlEFx6w0fqSoHmfc+p9/5issc1ojAjpRaLkyJ2895dd1+Sj6GXsi8nfGS3HgnwkBt5JW5VrYNwzKsfrIp8VGAFCf//VA+1YjJ81io12NFAug9GaA7TmBZW2LE/0aSeorKfU3NfYDjyTdlMZl8w+zXgjkRv3e/8KLxvHsjyFsxk2bFWwOmFiMuNoiuWvrVxRJu0XRLkMnGGsJU/6G0PNgR0+h3EfJedkrabmzxwLIBfrvH1isrF7PPKp6reEmML7z6DFfUGo0RSCqDJZGvPTwZKulSNPyUZ9oJq9oPg86YMKFx2Z/VN76vqKA/lfTODLpbcoaBaABLIFFoYinN6X66p0qch9alhqR8z//T1oJIBKvYTlNs/R8GVWloomUg7dIC4HlPY4qwRfrshizFosMq7Bb+G6+EEoSJ93I3TVTrbuTK2TFdamEO+lkUqeRwj23Ol/jwpwX/Dlw3KXI9MkNEx9k0ICX4c1PzTamcrhlVMvOlHfoSsJfDHPUXR5eHsrmJJYCKefZJa8HnVFcdqEVMMYze8E9avawu2dFaKhR1yCvozGf4DIqdK1XCen8bXmOU9N465vMN60/mfECddQKU8VVvpbjZKLJTdsnHCJO+rGKk1FuPRktdl3rjtmT3prR6diwSE+9zqSOl7G3r+QonjqNaYf+ur7MxEKsERKyXOp3gVXP+mlOpWlb4lLtEWtNCGHnfCqtA+ZgcJyExM3sE82B7ZNJw9z2QikRcVa4eKlQHFUKgIheL6Jzr/MstRy6thK65BPdD2qZB1Wnk6BOCTcIsHO909c/dNTXoxn9gcFE6OcMk6611R70ZWTSXPHKLgngOB/SF7v8neLCSYL2jocHm+pp46N2i5Ya07o0A6EI59BD12863/twte6KUU2XZnclEQzQhtEo1tIKZE0m3XvWD17MXrF89423aQcvwU4juMmvg7rkOT3017Tt/6pmsV1m4R+JXUvs0PQZx0TGQmaKiUti62Ssyr36TiPV/4GKW4syER8z1i8qz5FyaJs/3lBcQKrTUppn5pw19VeS1ewfTVH01J8n/vYaUbjsI+eOpJd6iJD2AsrzDQy0BXdNO4PlgGqemtWWL9Z3ADsH7zawMm8RbB3XN67N4OnWr9KtjsRX1/dWDdahfmL6UxjrNQnW0jwORp3Z6OOlGl1GdjALBwtPKohgH6htHTVwJ+5XL0P/PNHK4ltnmsAb/Pi+2STljwlZI5RXOVOeE4WlvAk2zHVCCFajDGQEd9+9k5QC6zrJWZWRkm6tyNjiW5qrF19YI0wXA+MJysfl9OarDpXxNQdzWpOoLcmAC1soLW18/if5+AATIv+VCyX4jS/DDlnC3fHzQJcNxizZ10Q+SGGW0b4hQo8fYyPO/AFtocXgsZrREWwVceuDp1FvmhP/F4oHQHfftiBYe/VzDPZvDaYUSy8ef5+mWvIz3o9Wl746mc2PMn1pUq3JwItcENF/WcVHT9+smdNXJ3V0F7DeRtVUl1NQtfvE4PsebqTuG79vfZOAp2vBDHnEJiEd+gx8cnkEfJ/4uamKHUvpobXSUHTrE8wzkGb02p3KOlHh0CDzdAS3B4UWf5y8LDXZtHjO9AGPk5EZ22QwNEHhd5QCz+AhDUeSf0ta1fE06A31luvZDiJO3HNEWUo6PtuP3pUFuQMfg2y+tFqw84ImdMyH6pvTw7M2srdr4dVBeI9Ik8eEnHyDIn0UzZhga6Yf8QTpl4mHabit5Ac1zt86ooqjOyJU0tJqdnySOkB83/FN+BQYqdO8AvgNarK1crI/6dU12UefvtbSfTfsWakRuty7cWvBsHBQwhgub9kEXdU1jqEAiH/hq40/tMlh7JEu4RihyOw7dYffL9nIuEbNAtAT4bDf8zqWAP/47L9o4tRVRdErFXyprGFeMVwo1nnjTsaugrdRO+w6pjwHBH2U7vE895XY5jFP6X7cB60d+XWQX8zaMw7gyJAM8g4MRzuD2MBsE6JGeyFGf0WF6sxRSZtnrVi3MpVwSBC6MmMROq+VpNA//gKczpPnPYkgFtHsawlrj7N2H5T9S7T1Onp78zGxNLhRcJcaudrURFZAecfNEn74uIeMlmjOc0mF8rcKD0rHfKM/GrddX74oPMyujezf2cFhttkrQyRsCb9/BPX375h1dzGbeN98kEI0HnOg9W/QvRarhcobwrRn/jcERM2r/ukbGWcJuQd1VrgHHdFfm2kpamrX6C06mN+gsJA98ofp9f80kpnOIH6WNLghUl1W43W4e4gCmoMIzMaDqXI03zc79QUcHrIQ3dXjZ0VQEn/ftdLRKyUOFHgvxqzVrgBgeDxTs1OH74SY+mOAK/2JzM4/JZMh72aReam+/8zg4t8t0AH7klvR3cmRzRF7kO113L52aQ+nEVjHhnh4Ong9kYqDb7gKW2J4WgaajxTwlLLXRfP2WRH+KxKQ0J9gBlutJAmuV1+E3T40J1nS8MEBfjkDTlmMnLm/qqqUAFti6AdnEAToV6PCna0xOPjEO5FQXd61eYgdhWkv07+P2lBTQCMXTBY0qJ9JDPd2kcVEb9/aenPE+RzZ5RuXOjoncs0OcXWqXl63Vx1LWnxh2kA0NpEaCI3d9knm36/TwSqpWIdz/av2wt6/hVfetlCV5+2QjSkJg/JijcR6t7G1LT+2GN7x7PKjtJ+pog7XJvzJGcbqMdIJ5vttB5YKFKfbFgBZ+cS1qdFwJWKDWP5hqSdmmNiYsxpdtQdUzZyxYCbWImdAtL1OK7p6oc0OTC3Sk5zdu0BFSndtm48i/l1FMHXVx9KpG4aUeuUzxawMHs79bQQKTNVs6ceIUslg0wVfbZBZbdVzCGPPrIj/f1QTd3OuC6qtCOQgv9AVO3MdlDMSOvGQsYr9pi95xfO0JLr/IZ/jpIwvrfzm7snIwpe52qcPR+BpqIviQRWuoKzP2EyMUVxF6Nc4aoA3FdX/jM3UBvtOqy7+zWxUZBoq9lAR5hGXbTYwePsmAra1a8GNIODbcfLzaf06sCxsgKSaRqjwGcx+TgyTk3DoTZFK8ajm4ca+D3x4VrK9+y37Y0S4pNz4KstNB4NKIgeAnCnA+YBVfoOmZQR+vYgFBonZ88dWBN/giqsS3AUvCMp3GM02fKEtDgEXa+f6L8TGRJC//FR/SRIujOQL7Ot2JqjicUQJABIFI09CFxa0Y5UT/MdhXeNzPvlK6Ke1PFzqSik2n447Az3LtTyOOYgAYTpLzstPzyH6qf7qAmuH27/gRdENr7//nvUJbTsxbN4BOXaenEvgov6M9zygqbl3kT2s58l2GWKVUQv3uN7yoKxb4/aZ9wxoGXK7mAruLKfSyXuNLrdnY3iKJDSVSNHHvzNv7B53rqgoShBnOND5yuOMU4FvNEG+dkkFOAFuGj2uYSpfUmr362pVoea6+IqMOryUIygUGhxCItpGjukiXNBzWDyh5rNgP3FG2NBSkWOZSrVhtkUD68Ud0ksTYW7slnzv897Nmd5+3/SuH2938WNg+13UkDhRQtanbALxMXBZyc3L+XCQOX0HKBORHJXhNoDu/oyBUcJvoqhbV5iEVx4jRqaeZZKSFS8wzHD7iob7BagMVUFUwob2XIsQAp4cjuuS6qk1zcbQsh+o/YjSSpqk3oSf8eo9YwZNehNH+VOTSsGUnT5yudZHN9ftUhHUNptPNStj91EN0yxEaI9hziGmSonEW6BviD619dvFW987XkkPYxkFvZr4naEBJxrotYoKhPxgDGNOdIDa+rzPOVV+C0TELGl2PMfGIAOtlOuv2MWnnaHLQbhHVNlCKST0FifvxjsdL4o+meF6Lrbw3cJ+GanZx0MioYthn5twlx+t2XLXU4PC9uxqdvlS8FuuYBaHHK9j3fquId2EgUNrMpRfYgOilih+Az3nzSSgeGZV5COJdlr7V2RLVMDpbQXj9YZjQAqNb2aEwQhUdGeyjtO6RY+N7qINWoDpxETqH0+FCpvQS1a95AahitY2j6vKlzdEQI/hFW1jIw9HJ/ANJtUmg1W7ye9vKmkW4OIqUciXn523SGfgJ67ZDjPYWlpQMTOuf3awnTmWGWxglraHx4LQIgVPiyaXvJTfTbetSCf+TEXU0OcdvrL/wl6MHk6wbLD+W2Pp+w7E3rQ1zyCGVSVxszZ2Fzycr+wKGPivADPtGwZ1BPGwEogNvRxPSLgA1Xm5oxOB7S842ZflgUPgX5Gl0eLuVujDT92hdNs1hh8UFZ7letJT0E5QrkY+bDTfn3Ylw8aM5Z9UFEbIz2hGQFODF1Omr+egdtOYNkikOhIsF4OUlVRGzUQ96Izdb1miAoz/A5L0NGZot3thcj6JyaKfk/s7dYX0r1KlM/4roz58Cvxp+cv9FFW3i3AVogQ1NhorMxIBUEUEsL7Tc7IvNvDzQTiSJNQN1NSTAc3/lv84eu8DxMxsd2OPer5wJUdd/X7DnO+g+cTZAPyP0xXmtXE63OszCFv+fX30YRInazvk3FjhULRRrJWgy6TbCU0RIQs5J3syxe3NSMwYcqMfCaYr63QWXS+H8MG5P8k+E3prEQTuUThgPqOFhiegUe1Han4bOU3aPsm4q2B6HMsOQiNuKmBeFuNgikOKXoUWgWze+mq+aXZLo4ZGJKFszWn6pVC1bqUrFf6u0Busy+iJN/HxPEhewJ9IWPwSpp3O6cDdr4FyYB2IuzVgmfqSDoiYSvpYdQ02ynYxwto72Dsvut15c5+1cgUuURxiBtUyrutZVQOxejY0w9o0ZFNFqmJAoEX0nU+h0XOBXDLqmccjXswgr00R5p01jsGdiceujx/sDFWU/4n3Z0oKJV3Hj9Qke416+19hv+G4+Z5t76NWjbt0MpFOprwCPksQya1pdzxtJEyCBSfV3+nuI1LYaaMFfTIO6L9pw5miA1Fbn4CHhdIQo/L0sNH0Fj3KJC/mWNwS62g0ZCRJy2GEymb8Zf+MiQO0N/T7K/vDtRVeB2qmmSyXdmjSEfz3atAqFrjJBvlpnAMOYrUrUjAWoOzAZy79CqwO9/UJR0Agk3JdmVurV+3wj2hQNJIbK1TQiLzaxcKkAV/TWXYb1V4FEKqNalkruSC45l1UFZA2FzlPl6ZnIrHqwNUKrS2+a1sT+737V+RSNuHMIbPYY5MxbcNE/VEfiU8DSQUJMvWka+zTYJt1Qh8p1/SeQtTtA8FOvmJsGD84W1XJpnz9Oq300V4DaxznwYpUpv8NAA25ZENC6tfBVF2Faq0XvoT8/EJkJHpmBvSBzcIGZR+WMyGfAAeVzoez5A/c+iwzLmJgRUfWVlkPQPwyFyh+DnxQBZ0xsSfNu4fMpaOqXhkhWewg25Q/ALgik0l4fK5ohr94/XAU81OjLMBAWmrEnVt1AYpzZqCCfyQpG2V7mr/67DN0TU1PXA3oJ5xVAiTKWvFvDxjVLs27lhi85RLnKXZ+dsoWL0DYg1V4U9sLj6LlbsegzKPvtueRBnYXgnU02YBX3UtfHtSHk6fgVe/Biff/rtPA81QgctNU/caLwSVAeUVmUO0afOhkL5aKAwfcrSkC2S0xNLXBcWl6ABmGOrNoPAY/T/tLoSpQliT5GpX7dPWhjg911Hk6BUQanvD94J2vC482iERI2c3qCB1t8USrNQyuuIfFlYTIzMc4BKAT2aFWDHx8jwQNU99Yxsb/iJ2Y9NrAuPLoihZaO8NqGm6rGmtFsdQMb6UIDdZNIb8gtwEKfSBCK4+5zExTdzfhlVWvRHTvW+VvNa9kQ5XHQiT6yfClpbhRQDbNZGigwxTatTs2RgtWG3/+asdMB0QNsxCUF9MaXTmauNYBnZbcbAOCNWv+f2oiABA+clJkAYhjq1e3ZUoyGWFgw9rWSAaT8ui8zNcPr0AVjO9k4BOag+9jtthqIEDhqi8YAe6mmuUYE+cTwyMr9AIoCwgtgBcxfxRnVxWz3JkcXGXMPlNx8F3wMzFaMI4QhcO5AZGwwzJBgtg4vSipPDyYjJz7TXHPds7EawUu/WGtPoWhD3sDxndRMrZYsJs9PC7FVF7LboRL1c8SZbXSAlk2dZHA0riddrlnCMBHO67+xys12pV/G8LRsUv3osmezx9+vXVbOecMtCnHUh08MfxL18sZO+gVZpDApO1cnU2T5qoGn7gZpZnw/FxY4nzjkUGOA6+Gm3e9lmn4FwCTwAfQTpS5jtgiAnXdNNYe7mhQhLuPnerYJ/pnqvl+p6LggcLXyfo8Nf+DunoNqOZNJYBnRO7cFRZGv3M4ZthS+GuOPAcsYZl25Bab/yiPga3BTD32koZYH3uN7MCIFACFbD80eCvaU+TNn5r/eREZjxTgieIKbG9vsVsDD0Y1awE3SwyDk1Mb6fJGRCP36dZ8iCOFPm9DecLNxC6QPtD77+C4XW2i8aGsPgzOVJQGTS1o1NDDlepyrI1XrWDTzjzzfOh5m9NX8l8CdHiNr6IbmnNR84rDUbB+zUVUduSNA8ZsAXgYm4766jBHro0DX9tYHIrctmhTtLMLN9L/yr8PEfq+1temwTd/qidOmD7VaWqO8VwgDfCyVvz3iHhTuJeW4sAG2JLrINZooeRt/eGvI2J5fZss2lwjyYh9mBmH80A/pzhh9X3rHTphbVQyv824EMHanPirS9xEcMnCJYoOTaG3IAUXDdxw0vmxNcD2hmEJmyJUCXn2xMUjsaveOjgDDGuVEK5ypRa4PjmDN+85Lg6ZVYbElTIHAo/CagEpb6Rsn2CGQdexZKCV/yqg9LJkBINuS4Sq0pprN9ZNQWtIsd/i7yq8YRrjVY0uHFss5QcDPmTGXBeffKRahTsLpHNzSlvWBFX+HLPhdWDcFlss68a4lrNVM1gwrkGtql3UHY+K4Vc/eO0mwJA+mReqyIk0adBgVvLF2U4kQf3b9LhB77kqXQ7grydxNZYpbZoicEzPmcpYFOvZ4qqxsQ26bRrrnhZ76taWq3TBlNVxBkfo3AIMzY7SG6Db+Py5vMRIIkeCAsrQCaBGGT9NM8EturnqHeOC4oq25qVG1l3XfdAagPfqF8n2oqSEnQVTj0hq5LlvtsAJ2UlPZNB8hxhfSJzSWEGJGp6UQQdIDeHmUKhPbjR4Y/J6rkkczLtujkpQ0/f7l8RMZR1EA9a+bGXRuGLGZhs8xKce4zmj2V4aw8OkHr67KYNgZSQHzQkzS5b8CMG3AW3IO9ntfg7IP7lYSQTISeH/HqpgUYn6Ns0EZ4CLNz4BfA3VTRY3U723AJd7x2vbp6tLyNWxMGhYrr3RH7GanlQXUmkqYngvX58ffdPOll4NNV2ikehYZqkPLHF/ePtO6FmUyD2zYXxQgSGyvfYYLjxUCHOQlufDFm9a0EB9hRwYfToTvL9WbxaYG52of9c++fk4lsXkbzpgkLWJKvPtGg9TKMXjztPH8/aWpLp7iEH59iGzoePkntfh+UgIPfIiD7CMLT3Ws7aZzLztZZ78pNdJ7Ydqw01kvWjm78KCgoJoUroG1EPXlg34z8j8mEpldUQtYHUH7hyXV5lwANGvAaDJF6rQTqcQA4I9SjvnlQ0fvZoth3vl6FWLtvLoAMS0aWoN9iyZ9ZtzpvGiK/syG2AeyP5U/ebvUxFKDHBbF9BmS8igvKKqMpdwmxM94WI4wMfxkGIQ9YtWwlyegorkZsUARdVkbAGfl4OH+3xTAyO3RBXW42xOWkRXZsqI7CBwjQXGQwzMW5LjoQKS6latT/Fj8q7pIsiT/0c+r5+Uv91Ejw7rJZS0sBO17be1ENNqRY3qUc8Q/xHbhjcITomFBAiAzkmQYmHIS4fttDjkoItSCfC4qFBX72KndDB1e4stagwM7YsdnJD+OvcXPTvz8GKVDRw6K+s0JsbtgPENtXidEL/hc+ATUaRS2UD+ZARIhJ076ONB3Z6QagvEH3Y5ZgKBQ9E4QQQpXrVth+4jVkTOuCU0il4X28IktX7hPesKgWN3UQRlvicy0APWpVgCSg8+wjnT630IrXcUkaqSsoop1c3mrmVokKOdCZx5Q0aXi31gchIknV43HDItkBkpGXWSYSyG6rt7DzbiQbeda7hmrKTi8aSrNr7GzYjVnZhOe1+u/EH7YaSz6r1EQbviDJrpuHQs78ZL/pAKNpVqxEyeH/1ECVreqvBhLudYshEuLb6+O5jiD69LR/ZzdyFxgR+474iUl9OPTgBphl/T11N1PTPuA/s9ju+loSDUSiEM8QTTRaY19vZO45LszyiQ9SmxbatecgB9r+4vb0IKo9r6EscoqRapkftzjb4CNmfiZ/lB1+IaLMJv24mPRFZYUBraxHY5U20G7E36RjRXfxvEY0kohtt2K2ce1Wgl55BF6ZbBtIJU38Vr98uq6e6Dw5RxBzf859gEVQf7M3kjjXdhGZXdGCRWRVRRqNso6CvBvzJ1f29vcQOQlEOh559Xp4nppFT51pP6wMR9FJIxs46FEPlPrPVCQdWqbj3ANX3c/spBdI0aDYGFGDS+7/quxjcg61FNnJDZm/+PfzSpPuU/P1wTiZUu4ivaiHfVbAzTJmv8Ajrg1kYI7fAUOnQlLqreTrH/1gvX3FdBErQ3OlMWzKDf9pxtV9+anvtANaqtTuttUqM1yv3mo33zpTf7OjzId98RT/BH8DWQf+uwuEkeex/+e5FYNeoFK+ScmLBrOdThxfRggwVM9yCZjMgJFNRe/yFpsgqRWNkAQWeFpUmZeX1E5OPXiTUXl2ymU3KPOOqyUaNIaig3WX9F+k4ERsRcKytl05azlecjuBx+lhcbu18Q05K7lFJFW1grdQ4K4D1a0J0PvbQcFi1fTeNq6rRBRMLvNIBS86dpQgGT+XQ9Qha1JIT3MtlcTzuWucztb5muHgswGUAdKVQkHqJsd/K3ig6MsUQyhJbG6Khphod9gIIg6fmcoaXGoW/+ro/oBAv6j9qBX1KYlfO3e/33Lxhqk1YEez4gj5W0Nh1ZR5PtRUH5LcP6iCcbxoLLkOB1d7iPC9m+6yEP0YpVbRW/6tugbFRV+uOdhLjgHOcFqt+EnHHgnBDIXUqbbbMHt0XzUsPcwtq7V8VT+vC+M/cdCB2ZyTzeS3NSK8ROV30XYlApBCL1TREAcIqM5KxGlVGbhDbK5C1Fhl1rT2tNj49+PBoxYteEE9YuA/Ew/ULDDbB/jOrGVAK1zLO/2JTGWQiGjiUrgR2SvncIajsGk4p9K3gihRXAg/9dwN/gxZwi9Nja1ARCm8oiXEveBeRks7bkDLZeic2nGa7YsLkEQZPVHXzLNCleHSAF0iWy34TFGJf2scX7x+s2uHB61EHZdRu2/Rd/TEmLBi2KlSkj/2kvItaaiGpZtThrTe5+4t2zUNeNzbOBrLCsU1IQctqIqKCSWeW1KYyCTiGlXlf6UX6dRTfuKdKdRdAIsDJ0F4bcVlJ6ynA8kyP5aBhuTsuPvb+Z0xQz0NczKBgNyKJOZIM8KuiBPY4UYU5/tob8OMQLvI8AytRbooRjmatsMn4QpKoL2HVjRMvOeKxo67jUhT/3n9TA27BBP3buJQPQkgQbXUODwT/IZe4kPDM7RIbjJWhdero08YoCWOL1JKuvVMZvR80H22RL7nyAxop/fORy/gu1R3nfwOqb4GYLOshqhM1yQ1734SgYe6PZq2ECm3MTaCHNjj1P7OvNWGdxvWnt1zD4+aqc3UuNMsoq7AkS1wErHJdrcnk+HseMsZ+ovA6f2q5botds3HI+ec++M9Wj1PhG0jqqmX17IZht6A23N0JgXIf4L0vKR22TKewJVQtRSF/abHJ83wsOLUWO9idsSGxsMYW6x42KsE1hP2hYHXMBbt0FkKDiHjf8BVPM973ljl4ulvXQyf4M4cmK+jXUuIb9mPYmxOb64qTDBV6SBjU96YjjBVvQpYm9hu85JHDqZ+Sn+EdZQKFeJEJ6/NYEUWmzx22kh23JejF3ydDbjStUR9wTvfRAZzS5ksEqXmDHTec+WwJjekceOPzuDF7nglUAP3QuyWM2MA2V9pybUkDpaAnPTN/9H0q28BTbHBdh5Gf/g3y+wmhVbxg+L0s661hKgVPG6KRF8fs+G87Jd+DTpoVTa70alSEpU6ktl9DFgeAWdpOEXMmKsYEn3r6Zv4/5IJ8/PlLrYtV5KVZzZNf00d19aSL/dq1MZd3KBxmokWG7nS2vOWY+zE5d/PIhe0nCUeUN93k8qfJ8E3U4oHfgfym+wQT86XQbijvsqEwCHmQSHwOtLIAa2h+CVEvhyKDmI9NXqGuK9Or+cEnSUcTyaCwv5QqhNqELBXADzA7FH/s5mvLaP7k0Bi/56lQxA4Rio3+mW+yp5bFxmMqTx4vv28ma4Ijgo57B+MOC84Olquc5/u4wrg7VlWjqu/o22UdoO6NcFKSfdJEj2AqehjMfDQ4zVIbX6ASBqvFKLF//WTnJzbuZQOIUvGp1jpU4yw/e2OPd1a9mqhaGnoW/py1FC4xBt1uzXr8/YN8NoidGp9h/Kf9DhquhYMLpHWQm49cgGRnclVOaS4cxbTAs2BVITWYZgLNjGQ9Iv92CE+amu0PIHU3DrrjLfwNkAO4fpM+/Wt7eoq5RGX7T80LLEoZ2R1BAxk/EzPIGg8NZqwG7RJ3z6BGxUolkfr8rhTL7FXtacXinKofZcGlifaOwQhv3eCEuNYaN7C4fHIEu2OjY7WobSNF/FLTXC1Aj4Bxj/StTXqbx6MAfc4VkcAmAJU2CENmrQMrKGwk87QZtQtXIgqrsMNllp+MF5BkWXr0aFScXFTdWcpX1dAFTZZvTtJ8NU95ytT8oYjp5AN1tLVA6XwAh+AA6GUCfao7+fGkoY2H/rQzIftDppc6w0O3dLSg8FEWz5JOQWWKkd4nui6uAyQXqx5BMEayvj+E03vgUkKKJRJzk5UhErK0S20mimS5KEsmwsbL16EO+T+g0wdmYcK4oSW9PIS8ZxtFf5v/JqoZ9XvZ+LDGmauUnor8kUkUb1jKgcL3y3fg1g98dodRwiIN8pdgcnT763tNdTT8ZxQZCciZ8LEf4pX5J0GdsYwTkyM+JvA/wivmkUoIf/VZC6XHrHz3eHroFKHj1jF6k+L9RPVj28HVlk9Z0YNzyiPyWLIHHHUiS1JVLxWc43zl2xRfPRP8YezsLS+X03sJaYOgYLg3dQHNmmB7NfbOWC5ce8m8CBpXzwXQg7iT7Qnee0kr8zUMEYANsf5wziC15rJSyIqMccXqMvc6byLzwrgBDk1AqpdIpoHpeJVUoZXeM6y9AGdhtD8mS8lA13c87nureX0gdZp8+Bd1NHodyuTRURUhOXe1h+7cNyOldomp0pdFEE3wc5zXMT2jXLP/YhVJsZW6yPScL15NkfnrJR1RedhqwYarrIeZd9urC1tnPondW71utM6UPquRfFd69h/Fwn2sAtUEIfn87i9JgcW4+iqvyXGZOPHlBhNc422Ue2yBy3QcxPb0sQeWFlZy4tK2rR1ITfGMY95XzUuVozxq7LWcLU3QOD3NuQqoeUdhz3CEmsKATG/d0soQrbLKa3q75I5xgPFl/z8TaB9WKYHg8gS0IIGw9TuEyjIhTwr11YyTLDNxHUBdwhxnCgQRRaHOjcWmp9zbklg7Zh3Mcqh35tCy4EcID9oRUfC6NIZPQlEtJP1qj1y1lTlWGqFV5r2BThi1RKG7JQlnbabbkUvsqjeY51pTTekhE1HUVeWXet0Y9eYXxaNCNMarPNVS73+iEL+x9zorRcS+QVjWU9wEUDnuedNMdtjQfIx4rxpuf4Kff1qPYJr5rwtZB8JD1yiUrUVtUOzgJ5PKL12CeuZYZiVgYcQH4zCCAZy8upqDscAbVhC3yDN32PShmZta9QbUxGS+IU19WakRRXACp4oCzhGzgLz6f2sx/6T9CkIjwoS5bVe7zsK+PNmDK4JQJ16a391TmjEZCfA3EU5D3+ft3KFV3+/ac8kEmcyfqpA0w0lZ+TO/lGikBH+KQqJ61mniKU5Ow8emFdtY+aKvafrwc1U2xujYKAyL61mJEL7wnm3pJItAZ1u6WWQXr2V5rjWFxwjoDPQBQHp6pxNqSunEDHdlp8axAP8Bu0nSjjXTGOZragV2iNjIJVCNWnMU1SyU6UnZC4OJdA09L2VqjUdo+3oGXrYENuFtNmLge6LrA1EnXRKiynWL/lz5QqTRHHCs0X1mcI76GCfTVaz7QUaf/ro2wXHMOc+ptIFXOetZh4aC8URPGL2EVweU4c3CtiFM74ojt2+yXymp3CQ2O79vv1U1t/vSyn/5IlT/YuwTUkzrDSzNaG6INJ/9WsG7g3qbrSJYXrWNLvw5YRalIZMHviIKXh2dw1VoaOdJMor+Wn6Y9/EzWD1hl4I9LlKhp4H9NRgk9ML5g0gxKbqlN9rSPVtBlxgCvsOGsGGrhTPRbPdZAxKRm6hDP9mx3CSwzuagHgfOHRHGMWcX106/WyEwecZA+K0oW/9k8I2TNy6aL4k6+0VxFcDAnUtbZQXaZWJ1olh4KnS//bbpd1yku8InEjjE/wDbQWBWRDAk9DSchFiMtivgsR2vpn4KYlyvg65XpaNX/ctzD10OI1EinsaazeeOpgRRc9xJbLcm60MZVOAWPFFvyQ+NCITasu06ujhuaPrAsstBi4flBPRQ3VbpllekW7rckqPbLY2blIwtkfcOANqdXCjw56bsbIyVDKzX9CjFGyWu/b1zcIVIgE72QiBgqqJhVeuND1QGZ+JowJSYmtnoR/5bw7S50g/0v/1bRVvLx4IFqAtG4NFSFo08Q5jClnQk6lxSaJjd32TWmO8865uqqJuzz1wqGnBh7IGOobIU8ySunuI/n46Dq6nzjSzdLnRPloYeToeGiuYXNJWoEhrks/6oV9E5hlpzxFWynt9LnNPVgn8K87xeKgswillSexo0d6w2MH9TT+Xn2LM3ivehtZec5S1uHzHRrNXEUgbT1AjECOkRnat9lYJNixBGqyyOSb0yj+9EBqouQaKuKPip6nQYbIR7qMW9KNBMaqks8d5v7HisO8AmvtorsvK9yZ0faDLxgRsOF41Gz2EYNHldt0XyyyRt75tIV6bCGFehx97kDMFUu12Epvc0+kra/2NEyza9sCiV82ZauJwBc4gE/8LnaEQd6rr7wuJ4knY0DVcW05n7JX/uKCjEOSBjz+868150gU/2KJNQm6iUd/rYJEQIOzNckDOB3x+4eyTxXdFrJyvCQ8LEw9Ah9y0QFv+gqmyAn1oncNmG5LE0gOw/zvLqYCDM65FCvYX4DirHBcMOdbOF645MNSXSRElGwqN8ofRkzUBU8JwzIW2ZbW3ICxaKhEW3AXEtdhUaK4jPxV75zjh+FGSSHNOf7Vsb87IUSwD/VPVqfeiRiYs0Nol7upLmGJ303cKzZAMurNfU35FglKxMpPD5nJ9sVcPDIsWwKKcNYi/Io0hulbxeOkyKn8Yw0Q11VeNTQZuKqaLeXgk6kbbvSm56bb36K/jKgw90urJAPjzWQy3BAb52UeiWb2HSVvRserpkSUpdG0UiRCV8PmfLhnsXeswGc5q8ZO0ycT14dSusmyGtdiMsqRSxCdC7pQKvTq2oIOughjO3CSzK8qu+RyihhOsmm6MPzzU+qzzNgbArlNNJ8zxzBK9XjYesZBsk+7DFKFjiY0rxhLw1SjC10ySOwLG4m6rBTMse7yogomIKBy1ZBr68tyVGksJTS1kPuatlqJNjn/OW4rdtATRs7qVwF2pw/wHFFfbfcbFyGNWmoPz1ToMhHQ0iw5o+XnxCZPBKIj4sKVXggxcfKWJb277hNSqSjvTUpbC+W3+Xeo39qgvcpCvscxCy4VrHj0KrSYTQbYqajlPP6gLDrO+saNxYr8SkR7knk7fS4zVSgcvJlwKLKkkaJuVJ9uXnPznnSHnSlGiQLkHk+PBGN/AkB2jEAwf5Gg02HntxTrF/Og59ez6o8NVN+po2LVXmCkmOA9zAOtX9cBa6pWcC+HyMAk/6SwDuwb9DWuLcHdU8SE4UJu8g6SQqlZdUeWo+LQhoTso7StZZoeO9bNRWKDXO4z7EiBusCnY0yPTdWaXHkhEemizG/i8NPkz1SAFJOPsYeXLfEwfGhgcYX8n9Kq0eCypQtULHA/0WKOjuQkcVNYkQSRlck+P9+pzhkFa2ahVlRgi8/vlfe3iq7WPTclaDjlNgdLApILvmLTSZa2RpPsdWdhWaBNSukH8hSuEBwQIWqTIVHbbTn2vU49H6zXtTfVSxg3+U/PGitx5Ldg+w6ganzWpm680NPiK8FdgB1aRcYWox1MEU3V8zVmBsRyx8XwMVUgJkDvceoFhrTHh7Gr9xA4TC/Z2ZtjfOC2X7pE0fMz5d7bHqotEYM4g8nNvdw2/qhwENNqD54gBGG/drdBUirZodj5YBx6vBJ74xzWDAuh2qtVkC7ATZ8ukhg7wM6bw8DWq8xXpLwIuL21hKmp15Gj6z0EltHPPDaHlR0TsofGczdHwXFHz9Axnem/gE5YZYCWlqdqg049s1aPycHjh1En7LyuoNv+DXBwquPmIMyhuUVS+gsCw7TkuSpAAwag3y68dy+jKPgNaaU+ZMb5ELLpWf3NkYPJEhxPUqQLOVW+A91BM7tlxrLoeXAjc1cqaHPdc7DJSyyrZR6+ARoZ0sjoSwoxemarLN9NwtgTdYVnsavHnFvaIIPUxzL7ilZx6Du+1pg3UPzBt5vd2h6BtP5uHD9cfwAFNrlElWOCfYJBTBAnELPo+vcn1121rBlcV8+S3o/aPaS5G38IXAeHHv+KvWMZCCxqvMejUZq1UanmUHa80UuP21wECQ9gniMLHwK7ST57sGyFF+eSfBzCKlkf9AjfplxEAms16Pww3dQ6LzlRj/9ZrJpsBj9HTxGOUNvTYcsGT/4lNCI4bKJEeOAE1HRyGKaWDVdA2islOZzkF7SA2jjV9BQO5mD4uONsrsA2R/rfwMubKmcrC+lA1lU9bHABDERS+xpQla7cQkMIZ22t1OyjYSWcFeMfUf1yjeAPoyNAjRtVSnsfyuPR5J5D6xQhcT0zWHJKsA+CdNyxWW6+scC0Y7i2dvODRdZxjb7I/ViX5lWE90XhXOyKmtOS6ZjA/YRppYj/TgKQ17Rz+a1JMSYI7DBg+C/J/zh3mJSUi8njqyyMhzUT/2f9/bYbKR1pZyvsZB+0K2EgSMJUyO1fAtSjS/qTPYF/Y141F1OEFcGEBSvj//JYthAX3GKDElQVbbdcIVLgLP6zL920tgpwrz4dRWgd5ViaDT51FvHEZ4HO4fBNUWGbtcH/o8WpDv7O+fueP/ydISeUPhY1qwtQF1i04F+yw7Gy2YdeGrcvNRS4/vu0B5PbHSL5tdWlCfjiCvE0Wk979JPj48zY46kP5bP0lG+W6TL9/taXROPJg0teoapWBsp0Ho9882isYPsUVQ5yTZO1ga1emSUHKTb91dAQT3QFGriyugDqulLQBdB+na+tuE2NM3Sxs7VEH1SNlTCbe9jlSSV4bGpolZTv7tNZcDVdb5ITDQZGc52X9UTv7MsXO5yTkeuWgKrjHYaHnFVa22E9LcR+bOWldVisv9A93ZA2MjaU98Rj7ZpSmWnlLyevbwcU6jJR697kMyFjX5dZd2+KwuVu4g4rBPq4EWfWTfWPKidi1iF5iAVcrl3ASOn5rGrY/O4HJZlYuPPfFr474qFR2m9pzQitmoq2Nwt2K84kc26Uixg9sMu6YDy4HVt2PcZwDoA+b3cxvzfzc5uID6DL7DhfTrhmgm4xL82Mkcsfj+r/NFPP7p/hM6B25QAwNkZRQNjZn8yDznYQe7MyCAInBfK4WeyRlfzqFFmxJqC2tEj3PxCmW3+GXszhO0cpupFJMXDsVVSWguyPWx7Bah7rX3kAR/XYULG8dRC2h5ilWBvjtd08X8kX0aVGNMU9G75H7opL+VD+MEy7LWDvNaNgGG9zX22XizVOXBOVL9WQbl19MfqFkwfwgui0Bv6x0BzE/3TuMISO3OQDpagwCcAEzwyvIGIOXsrQXFzE+lCfiX8xuOxcpf3ZUmrEWUr6TluWjkljSazGyoxbU598JkTBuFPCpd/dKqdoeaWSAmqlJJLhDtGQ4aRxinDxtbk6ws8muOtOI9N0Sx13lbQ0CGgVP+1nftrykAEMhc6vH/nV6AjTBP9Wlfv6bF02J/bW/9W6m0xACNGZw4OCkxOtgJlnQXKpF87AlHmfwQiqKXY1GEueJfyaSjwB3WugXfobrS9vYsie6xciOaw/sIo7sjYeLOJO3FrdTjrSZsazpwuJsjoDU8iI4+JpV3dKVcaF69RoblNLBFls9Vj29U8sH9imwRNSdhn3txWh9T5g252JcCPEG6sanh4C9O2kJafoFUJjGDGuBXRYqEAbxPzFhYUa+vsv53QZwLBRu5P0rCMi8ttx9NnBNTZcTSCXktvWnP51rAqxs3+VBVpG7WLE9dudZK8B1CE5v8Vmzz0D29AxuHodwcXdsfEsGEhumdqAwlBEegi7Lj5c3jbQgSciZueqZWadkKV1eioGqqL8iV5p2+8dgJJtWCfetBUsHGmoqvpA6Pr0GFbHAim7rhnctLWx3uR0wsZUxsFUo/agqX2o/iGsG+ZlNQgDC+TdDb90kTN0K9QNW5O9P+ZyYsqrSP1zjMNB/lo+wzI33pJjMXLSyFTy1MGcMZ4ElJS9ZALaDLck0/XKV3cUNDoI2tNPAZQf7xPzoAxi8EZ1pGGbGVjFfyTRcXIEGLrbnouuw12/Tkqz9Z4dqt1fTVO58ICwoA/8hw9YKfKSRP82cEHFKLu2mmsLO1tqTW4bO5A//AWtDhl0/iWwWiXWigdGTrNttRn8tZRrLER1DEi78i0ZZ+SYFvWrWQys6547sEvaNRdtjd0eebKzkXuO0PIgzEgNzE7avx9asaKplby78unFgZirMEgBJdQvSCgtWH1eKbN6RyWffCjdtK79v4oStofSOfKwWzNtr6LVj0Lcik3AP7uEYs42RlJJBT1I8q3VGKzeTc+ATfZ1+FwIMAeYrcj4OYHyZgppxib/pE7UPCuUwWIjkN4+S5bVSiYX+7WAhTkUHpwh5jcIOaL2WBE2SHVb2xFfDJjNcAWx39iFlgv2xA65ASHhxX90Jylm2f+xlylyZeex/pBS4VpTDs8FDoqrlrO5M1Y+JPpl8HjIeKj2rx2O/HClkMyOG3Ti0Y94pY1sJNHhZuNhB3oniSVrVjWB3nE1aovvYF9dALsaj2jgAAspO36n6iU0tRyPLwtykoSCyK4XWs95gSwGNexP9nmrtHRijSXibMbUlZuOLhCxb/vL/B0UNBxn9Ik+1qrRPb8sdYQWBllGvWSVRoRAC69i6NQJd9hBp79cMeedJ7ONwGln/Hqdb2cNXa34MtfCqHWZV9JW7YvIZsFoOLfZd5gd9/Inbq8KV/AkZgCeC6luEHwkA+YyzEP4x97UaGGldvgsLcsM0pLl4g8AAbIRfz0xYn8axFCk/W7yHOGSeQpHnutH5iYcKeTl/rufDftukL6ZZ+vgJBMJGDPDHW64OhM/HxQQYzxQI+9IZOhcid0wrcCnCQ88LOmkYas8XkeE+AZrac+dqSHzcVMarDENQdhih0ZweX+sfpPP7z5qUP85mhKj4KJnuppw4Wv0B0MvqpiF/OElysVU0fIgOKLhADrrtOgQw4p1UwMTjZzq/JI6yKH2RpPxqDdXhs8+1Ye7Mk3ywj18SHkwISggMOKdLPB/Fzj0i/cPNhHvt8dVUUvPxczdi7Vjk3+G8gy45JaoWpW6geD0N1XkNiUe9msLw5s5C5u6VBBgj7pOAHVJe6HB4BEeiSq/M+KzTfItG4EnWZQSAz/m5T2GBclpDFil0D0KuwQq/BUe2vCEsFC/Knv/MaN7GXQ//zENOJ42+CuKDzIkDVS/CJ1mtrpYigtKRq4e1xIlpiim1/fTTGBfvo6fQsmy7rn7MHw/BAH7spR1+2xZhjyBBYnn9VXlhmYu7UgOG91gok+4vQhhgBwkiXWQG2gMoPa9TbpyDbmhKxiTA7KTKGe0bhDR05OGtdfWMZz8y5YfuJ3zUgB/pIlGYyNsVTOH0pApmjMAr+VQakUwXR795GNi/eD97lzk/bfbfZWrdW6W7nlLK5ajmkwyPp8XL+X2yosHSl3IN6YCdYa7mfBrQOM0Miz38pfxsUotk4f765NIQr/wE8lOK+Y4b/4MzurCoj4WU8rd8Ylctrqd0hp1WO9O/NtzFuOeSdgOufwaNteTEG8DbCxM/iwNVyyG5D6FA8H7Jfr63MQDNd+pdaheUCFhNLipR+TkpIglf05YiiOJhmuCVAHkCAYN+u8o/jNAL99peB5fVirAsAHG75qh21S8i+IcQiB3sHVAOSGvNllX26AcSgFYXH34IRcJ89zLqTWdN5laG6fWQrV/WUVskZiTmChHl584UJgjS29FYQduqVqYWAoMxACb/ZEjnGsDyu30s/UQgSZuRu1vabSzUXHJJz7SnrU4hWdK9fJk+gkkd+c4KDzBbdUuFK3sIY8dDEUsudQBZO4oib1u9DRFgq2ZGqeICzYgc+XOZch5vdE7BOyfXAGSZ7KschNVcdkcSu3uPlvtz+XPnYU2EG544tWngc4xdXdPaMLA/rYcLfUirgmVjk0W5eWDaLNGwE+G82yFzFP0vcppLY0uUEIwEq1cUkHnOcc6hXRywfGvaF+w5Jgl3CqYp9DxepeSL3Ehk618yXcJS07A6I/di+Tm4jRCIII0vQ4HgNyubYV/W5xF1AQYehakHz0IOeXu5YQL0LXrP6XYfiMFTiEkddt8rgz9Ay27/N+mxf5MhA1ipXVlWUl/3oafrECHcc0LghXrYBwy2U+spHvlWylHsl04tuDbRfTUHjYhAsxKftDdWcrC0BFjEgQQPoS9Uqx8b/mjwrfalvn8gmBP+ZsWQhjEEVQCo6rhOdAw6sBsjBws+WP8HRB9W3XfJK3JoSmdy1ul+u2IVt2zq8QWH+TNbO3IRz/GIca0OHMFukhHGaGOdQYAD2cqEAN8NFeg3pl7eNDYw19xDdvjC31txtsIp8X2DE9H73U1aJLetBkJ1kOPxNN1BcygaRXUwy/cI/GmyCU24kMGCEkXpVOj8Foj7GO7oVH3t8zqlTey1blTZ6RrBbE5Udee0sHyvC/Jj2ARaDgTn3riUuMAIbunT0n4/hSh6QXcn4J4Yyd5TDN9Y1LuJM4SxEJ/clt0bj7BjOi0vMQjf7cqiFGU1QhR83justB0gdx5JA5AQZYylm7UiKLPrtdIj09k103+4u5N0IkY+tEZrPWnozMwoY0MnTrei3FWASUHxqUIV0IpOdLURbLplpqh/TNBybUQj8v8m+NfH65A01SYiXz8lpze0QZt8brcGP1VDknU/LoFK0lo0SPzAh3UTWi9h8yosfFtwaKGVCkb2ZZinXotDAS5A8n4rLcypg+CRnEIYsw9hD83c9O55bixEYUpR/o2Ye/yRQQBrYDaMPG2+p6WKNAqvf/fUVaW3DWg7th5vzeXQ8GinyVy6CyFnztTE/wPq1SmH3vC7tzlG38sIl2J10kBzrot69oXWdVRag5e67tmoRtgfP5e+XelaJ9T1jZKFXV89VTbPlLlkirk+iDIenuW8d45MgYOR9U0dW+znHuPWRJeM5NLmI6IH5PC3b5TTdbNkw9+daMaQPlLW5lP9BSRl0Qp9Ff03SLDSDVqtRCgHvR0KdRuIdIpKof9w/EsaqdBIT7npvgIuGhmv+t5Z6bnSBTFwX/2hkMyFLNW5dWFNRylV7mU4FIvrb4WIUIZIPDluD49PrpXvQsRcDFen3bKjFqBtyvW7YBmQ0SBuaWH9jEedOfoGSoq+w1BYm8wuQUNeqIX4NJfv4Dtsu4u203ZxS8vMT3vHTJ9A=" title="Mekko Graphics Chart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4164330"/>
            <a:ext cx="8232140" cy="2313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041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lphabet vs. Apple Quarterly Performan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447800"/>
            <a:ext cx="8229600" cy="685800"/>
          </a:xfrm>
        </p:spPr>
        <p:txBody>
          <a:bodyPr/>
          <a:lstStyle/>
          <a:p>
            <a:r>
              <a:rPr lang="en-US" dirty="0" smtClean="0"/>
              <a:t>Both companies exceeded EPS expectations but revenue for Apple was slightly below consensus.</a:t>
            </a:r>
            <a:endParaRPr lang="en-US" dirty="0"/>
          </a:p>
        </p:txBody>
      </p:sp>
      <p:pic>
        <p:nvPicPr>
          <p:cNvPr id="20" name="Picture 19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xRdLyPBQmwFteRcmjXfmIFbm3W0VzdChVJMhV3mHDqFd3n02aUFWT5uGt0RFu/sjMTyHLU5gIbGEfHz2D6/7SsDoDD9FDda9aiA4RUyXnpOTB4PDnYdt789vE7jWjq7wJ8MuKnv0Df1fjxmZRK1uF+yVafRj5zaM71LJKS7dMYovlRKDHa3e7mMnl6peiBN5UzpjYhZC6lGvmTU0QcUTO3QL6t1mFNNHzOMRqSwkPINcji5+pAUmGYP8Mm9+OFn/FF2REYlE3dALr2leRHArBF+iIF0W3Kl5xmdsKlujW5JtHNe8LL5eKxA75bwApX1FpAcspnLSbw7BNMwcEPh5/HDY3y082guCuc64jtgDyqNDcZVEE7+fJjkk8VsqWwnq2Y8tV/M7M+P+SaLZAn255bTJeXwrPDPM/O2dakBaZuQyckYRQWTH6EoyEY9eU0bkt6tL+5Tmgl69/r/6VNLsdo+Dd3Q/V0trvq2pB0/Y5d1QHr1fXzPyaCBfGNBKnBgqs0yed2oAHhMjrSKvaQzgYi0sjzBbdSHI8Yn6b/XVXGnskJwN8dPEb1HnrC1ZDgJYE2u6mA8SynCAx/V/jLuj7iEPbg1xt7QEpyLPznsbClAjGuzQLqvPnjxuj6OFjnsO96JiMu8jAmH+V+xy5vtclQt3GmR24LaW5bDtAETsY7ibkNXCmzAiMKRmrE4Jm/rWr2YWCCabdCbLSbGyPS7co4uzCZadBcUjULOdeQC5KfXggkr9/C+Ucv9xLcrSFn6VisNB42I+Iar4AyJ0ZjzBfaHpRjulYiEpKL7nIxz2b2D6/77KBTN9NkfQkjMM3pod73aLDQcDBTLqworrmFVj9rgbbLvbWRqCVL/cWLoiBEh50sKSHwigS1LfyCl6GeGo3slPHklncyEByw1+2SA0k29fjUH/StElqQUoEFoRMVFcdoJec/3W8C31Rk8u8Uonx8eWGLdM73a0wwxhT4e98htvriMRQun/+sofqPqsoWe/2d2ajZRZjkP968TO6XGziR6t04xjZLM+NTW1gziU6IAlWLUMy3RMvuCvqTgrZstY8GV4OPsLWaJjs7qW1kZeTJMAn0qWdRIDQ0yHu60MAs1z4EaoS1489B81x5g7HJciZjTnRF0Mp38oyjNi/Hf8VyHGAbkV8oC1jFvXgqJqgUQRse8USwRl19kdGli5v53LDkjZcA01mYgnkjGnuNws4SZQEdBYtyRFL7k50uc+s6BBAGctp2BCf1OgRE0R35HFinrFcvJMfh3z2yHF7GpW3ApojTFW4RjMbe+yYh1A78xqEsKnTazxe6aGcepzsIAfME6SQQQE1T9J3/s7AGBgKOnFgRzZIANiIuFM/lMFhIyYrPKWlKM3pR303dRJJBMsweZUFa0f4dcXe1gr4z4Cr9zTGgXXz5AEOxnGtjdfNUa1vy8sxF50p1UswrX04jrV/zzg+QlzWucNVUv1zNBPNKawvT3kAcTIZ4eOeoNZyzNT3Zj+f2FCFe9ZWxKh86r0gOwiOQHxyOfl+f2eA2qgBZBvUL9lxlCNopr8+Y0KoVXZKnaybGSCseDPA2jIkrc4p48kP/XXb3yS+04+htBZ6UltqHKtvEuDi3x5uY+ws9T6z2HsSwaJc2kmRm0klO+sphGkyjY0z6b7fsqI9wTFV5jQnXj9ZXS5YAJSkJ0O1hzAQaG0T0yDSYe9+8c3uL7xQX7ZFNMXa4OQG9PbGmFIn6M8o5GSJFTNZ8BnIq5nTcL47p5Anh+MomXxnBPxP/GrLJ/Nby3IDQ5Ue0xK7YDq8l1EHPhVJXVXSH8PKL8hr1tAa1rUERLZcOki/PkusYy7VrKqmS7eh4sg5Q+ZOez90NskCiXQE2JfqDeIMqKtzJe8sMZrc1hXWYjzSR0nS7x5IqwBM0IltR5c1ZNZJjENLhfsw1tdoOYKc56/4iJFNsDqaCjFqwKZqIsb2GcfvGsy299zPAnOU8mWc34Q1VqMKe1aiNgzIEe3jLBJna3/SZxxCWZn2ae4BmnX9j5YW2rt7sMT8UHzu2lVZA3eCGZ6vakMjonUoLKWEyiwqgBuxjqMiLOEWqjWSSv1mmRR0K7s6szPA9XwUU6rRMXrudnhXC2MlrwyzLChsA/jf4ot21aQstu7RScQ1NjhKi/VB397AlOcGCarRRld/3nyCkzNFvP7iqK9h+/RgbnNEoq28KjeKGh3L1io45gLzu39kv24mMJyUwb3dp2zWDHZXKbof1JnWUcpy9sb6lizrXZaR3yD4rsGIvXAvWKw96wHdYRx0Fpbglvs4xUdWfsWnhVeR/fs03dd1YMfUf6INCR0J4EHSKBmveGXkEbbA2ENcYwqM0oOFcRKNjasw4R8Lg+A1OgZvPbIHHufhnDbhd1t1FQVgDQhS3ucURlWna7RzQhJV9Oj9kp7fTr9V/uLMlfH8McTp3rwgGfa0E/6JMwLU7c2rcjvIC8hH7YxY5+eaNwEYHMa3r4zu9MHKOLV5mMy4iSU5P4EzAIP7MCr6sAX9gB72FUNGCHrBZHwzsseTXrTq51Yjic7jHR+4WMuSDr6SsFxF9qfAfNP8+1NUKt89X0/+GJiNfswYpElLnIU+sZBXIo8+KNvyFn2tY9yQLFPi0StQUhxvD7JQ/x/iqzXJRoHIhWj4JyOJKk1xdrBN1RwFvnQy4RrKis4rTiGkKYvJDP6P66G7DXj5kBNwD65RPY9MvNQtKiXJrXb0rXAIAZWZb0Z/kVirBZhPhFMxdmYaiPcv7SkhtJ8aXxz+8PBFdE2/AFUAqCgfpMzjL/Kn4INmiWfdipeaHghiZWoZXitPiSbvWnzcCO5Fy0NC/oKabGMUzt9CTyTRVBbCmrnOOY59EvRaoJrKxp3ppF4DnjUqb6l/7hzB/Pn87y1rXWWw4lNvzS97Z+cxiPBqviLlM3mDIA28w4yyqDHUqH6b2yQvTZIp2W3SBb8ROgqdtGUeouJ1XVWSaVX5k7puJMC2iSetVbUly4vrzboKXXugO9hdowXk/1Ar5CvGbHDoKEy15bfjwIuYTx4qeZrEcrs24y91IOU5ldWdZDuwE6T/U//D+HBYYV4vk5NedKScMJ/aYlbfUIQd/sW/8pmWNEs9EH2WaG9Wh0ajIMtcibT7cH5Qaj5tmbeB+QlYopZi5nn1LBVBqVup67+erJcUwzIbjpdz/oXdTVJovWI7EWvRf+7Kx40UaKW538/FyoNiMFsYTTQLjn86yEMjyV5Rs52H0pdtQvZFfQA1DwC9ltkb8v34XUMgjJnCbLRmTQXoo4KM0BhhSfDhOyGdS5sJbNzm6QX84DLWGzov0ERNHLoRmBnQuUNvl0/mAN8FjN/r6l4K5dckY23bOFUemryGKk3jbeLLt0xBgcrRomClmtGpl3HVPPCCZkMv5l8d83W5tJ7zACCaff+WgUak9oaN8/axJ5Al+Om7/LrdRECBJ2sbLGaEPSTbk7gAIcQaaosLb/2ArN+d1NW14Bywxb4WYf+vDcbNHPFjnC8C6BwDqGAQsgcIVQr59ZHx8XmzSNA/4s2KOb4sE3XlTMRzny+he1h+kPtbuypGugCPu31QUCHxJPjRI3GzeSdBtwo6oEOr2hZ23GhoX4BedjqEKQAERSpg/FNCH6k+6UgjQKplFh9NclzovFH3eUSgh2vOVBBYnTNWsk9z+91deNR9dHllDZ1e3CAH0PfrJf9iI/tBAmPN+ojA/9yAjvX39yXdN8pmYvivZe2jxJrjMf3eInrV9Omb+9oqmIBDfGuYvgflI2nmgTSx7b8fbv4aTMQWEmZ8ijwuolMozUZv4/H4JtmnYUdKBWnQNKBb1srCh3dXFLHffAMt9N9XZGHI3aY2sG4IyQaIaGWtgMg68y0Aquagu/XC4VAVfCRR26Vv8/DWsTxM6n2nGqZB7EFvAbRNkaA5DQM59bvC5LOsw+0gK/J2TFNXnXlgmT6e6iWXeJ/9pIeeslwIvT6a++XJaKkuSAO+MadSqIoNpKqOgxrQFdxQlukccUB3Cg8j7w4xNJ26mt63nXY4yhEaq0MYYQLdCBh2zDnmqSAvA5L7lDKtGLqMVC3Os/2JuHSi2nCSUD2e3igz789pnsXwhNfUMLmb0yR6nC2+CJ1IP6o3ibHw7pD9A5W5vh7Tf6E5oRmSVFUvxJfirvmzal7gTjteNJuR/jdSIzzKJLpdcJGNkMAcpb+QZA5q9ZnJ18Ow5yHUkgUVK36rNI9grvOJJ6gkIM+6mZRluXfLAtNPraf7yk3JwsrrYbyjrTk1i9tJxwW7v9zXSXfdJHwQCf7s9w91W9hQoFrLUmBFGaKF8+SfGVgqpHYtf8yyX8NAuCJFx4My0DYVIaP+b7PdrxUwAcwsHGwrvNnnoI3y0Hfqaxk03XsGVrFGu7JH6+5C/2OwpS/iUD36oGWCk+2xwxTD6AohATrYqoC87s0RjjkocS5pdEsQ/UvrVWNMh98LJLVMIl5Vmq1wWMIoQgDBFhGV1PuMekCz90ssYRe890tCzVM8/OttXVUugwKsEwKrof/qJ8gUSG9o5G0OxCrpPpRu/Sgwnc+dd9TtKwDK4yGjwd8DkXaX1AfLljrZkRvxkv1DMoxLKSk+dRMvy7V6RhpjMkH2J9iiTRUxvnJaHT6hrLF5ly9tzuPR0HIy3WkQ4LUZQuVpn42RLJb/j/cbOElf3OSnKfxmOLxCELx7zcq7lBdHcj6YkFZMwdXoqYneK+1dtvSvQ6JsvKcHrFYMfaPTa6amr/zZa0DCGxLmruhFUwrF5lSeYouC+l8VK4Byil92n7oXx1M70jTIFxIzeYzvk7Oof1WficTsepLhcdcCpzVWu6daSUjUoAvrT4HFV41B4eoLSDrdr4DStGw/IAtNJh8j8EjLV4nXcyYTBMObMnJet5F26CAb2Sik252agdQxciANpIxBdONziiInYJv5A/9sh5ZqCcuuWcItCSSc+eaAedPQQj42Z56mI0zw3vO3lC/8Km0Lyzp/2evipTo1Zt4zgkcqKYicD+g3yJXdgscnSVanHcMjrgoheuBSRbZJR9sZsoi4D2prNuc20poM59ZRXFNrChLaPvnnIiebFh2nFSEMOEHIBBXxDZemgZwkfssCFx2323T/19q/KE0FmP2wxR+PiYUY0T3Odj44XhRyCyPzqLQ7hRCWsfEk7nXGg+ySCVXN7Cqce8zp3OlrW05HsrkPcVqClVAnJrS/Sk/eOyGjX+8PP87smAP/ium4MX0GKAmvGKgazqxjLmHx6AdmN7aCgRtZPqPb76zYSt3+7wOzKPNNNgNYVcb3GdsVCbD0btasSl21U2oU1jzl9uNBtBUPgqaF6IjqX9md2vhQimijJ8jMAt8Y6Lk8hHnw5EL9mRT6jKFa6bz4btBjpLd6/5PbGApHuJvellVK1tDihf6z+LQA1E4YgoUGkBwsHI0bLzr6YtR25cHGWvG8YMNXJmEdT8euwd47miV5J9r8SF8PVkG50Uvq3139O6dn5LJhjaimOrlCilXcYFCAmOFNxQGFvvArX4LDBC18UVdMsgGocSljNsma2o5adR8qD3uleEnW8bBrbyvGeSSw+A59aUKedKTIstSizsh+IzTBUXncZEjMafxTsD+uzxb6t0z7/n6sRlO5+w+SN922qAxHbD1R+OvvXYigq4slINAfEgelpMLU+5MZhoWIjnHowB7oSObLGKyCAps8QrkN6r7iLZssGCb9FO2f0UA0SBGaP6KiMZFB87/nuwBrwCKCPu+seke/PzWh2M4vPs1t/HtxDzRZJOL+c0esiN0+5um9sT/ld+PR5JM4/GRUbWXNEko4Tash4zByN/JVAz7AZboaEjGwKol6R+DaUSbbKU8M+z993Z3NSSU5Tw1E2s3X+aG03QEBPOYftoJpyaNgWQTp9J3dqnFdcVMMLbrW1JT4wjPwgL+C5dAY9llY0VxA99akgt/C+qRgGeM1DGvZAPKMxw9GPDxPAEddAP/J5YP37b/qolVghfdFRCQZ7hK+WQsj2xueLrTTAbBX/02IsNz0iXG3naF8vWiNWuSZLiK9BAgcRlbwXvIsQLWP3pCPkqifJ2ANUQytchK1WFyZwDoeSUaRtTXEgwSew2xwIVYEcNi+drqigy0nleRKoWQQSjlH0CyQU+ppBHPcVSwld09t3qspmOvCZzV5X4xzBGmNnM/qZZvxSEp3XsxMirNKwim2g2HausO/U63YpJH9l3IEOA+wOrXgI51VTiVLQLIjN/fcXeHDO9bGFWcbkg66H/maqRcLfJiF8ebbWk31wdKpRwglfEb3lh4duRC0Z8tMDd6J2tqSOrWB3J13HOTuY1/fjdug2A1h4Wle4z8oSU8pNNk5Vp1iqaj/a5SMof+pbOZ4oMqesACr9R6DgaXj5TWLKgBNNtBDy3tHAcyHUhFs3Hgui/Mwrtpar4mHZbgvonIa06RR8RBGRJPLvIbh5T0ATGcYRd5s5rZvZ19eYmfTvxAxnxzaYVKxwCqOX38WzqngVWSep/41JCteaXqpWII/Uvx10Zy+ZV5vfOryle+1DA6dYuiDhNbCw3i/QJiYccR8NGLPjo19ubBq1u+KAX8ndZCfc9blsbcKisxStDdSeFsVw/e2ifswQhQ8zecgavEnwYjMaYzsjv+BLrGyoy7cVUdHBTiTJX4OA6dtTL7ViEgUAcCIN98o6NAXhq07H9k5K/nFHGsyGYs9ErtoRqAJpFzTyy1B5Y6NiZ+TjTlEKL76dIRiD5+2njNqL5Sse2tWrpFj/nE/9C1bGgaZcKdJX1IR9dWESq1NVfMsYg0mLhedDQIJE8qAwWXRozQ3pqiqGYH/kGkviZ9rmkWYf/sxYICHQlEsSBVA5Bgx6E9FRzbdWOf36iAzz2YjUeTBb7qpcb8gJNRL4v7W0Bdx0Xx1ZJiGpgCTjEp/7NTfUrRodsVDNdLOqBnMiRQi7l1AnKsjlMSgtUL4VzUATVwpovGP4uyu6p/VXkIOjapfwfad/mQnhhbj3o/JX0lZKMHIa0D1+yHIAPmUBHJ6jU5l2er+FwJoHWGjGPWUpiTkVYbH6OWwE5R8+gO7U37IgC9H9BcAH4cOrqahr+RsUQXQo8oT3UYptdku9IxcPvttVFft2/PKvDeyR/PRaTX0Ng/vMhfBal72obeL35ISHp1L6ZkA2T3tbqNTiAVwyGIwQ1WbBmdijvTSpRtFz8MpAOgGySu6HUOZlcT8c5IMz2p8Yv7FlXkBz9dECPz7GUw+3UeqoayXnc8gcgUgntzJojsJOTRLGhEPkH8YVuiGohhCFIDPDt2j+ymcSQLYxSic428UoF3Qsy//AgY79tLhEk9WF75eJl+Pje5Zlt5zPClnAYTYCWyTN8oOSy0T190TQKRfFFO2rDJdqkgLXxuP96kG0k1zkmXLfyP39Vz0BnlLN5ss8N+g2cDhvwXfbpNzJgIds/dTfkX3WFrb3Reg/Qj5m2YL31ZkjGgUjxOkDEJUVFoaUSDaAOI62e5nmTYPAy9twTnK9g5qxk5yklR6m3ULQcoh0Nofo52aQ8CMaE3IvEA4KFm1wxgiu0C1WSywfmkjB1VQvRociD3Gr4QqiBM/z51mHPS0MuGh1O3p3Nqytf/hx9zT42CM38agqfiRZpADAbcAXqZseVLi3yPx6oL1SjANcRGYCCcUyBsMUNLM9jNzkvyYL7wY43oI844t/vDDYqPAnzb65Z+JlhKU+cPObhAgL8QTyR69/TexE+3bJ0+zyRSTKCubP7/TI531DdW98+nLW3oQUWOwU+TlJKJRBcAiLwbQBJ0ul7PYvnZpsV2kWt33DLMN/r3A4WBzOHtC2Bdcu+MhVqvjXaN1JxtteQ/dMUTBiD7udcSaqBoAc/HiCWC3cmRoSAjEKBLpZrhgGoMWYUdMnM2ehdzVzCSSPQbeKZuOxzdXhsbyHV9ZQyZad/A+Pi2j4wxirGweWjoCGQhM3Xn2Iv6gEsAPbK/HkKIVN8sU044Nbyk23o6PD2l7BYLP9isPk05hYi8Y/Y/ygBq5InZd5QHmikDJpojKIOXxDVx9ZN/a6578qZ5rSdmSC1T7vSIDH9K2JnOM4lpwLfU4aJM9GzQRq3mocdh680dnSGlEDjIYQKA7cqwdrHoHK67bdRC6aP/FWm84YBN1ZrHkxiR4R2znaBmXWiIIZVgPgmgMbYZz9ka1x/D3kyzlVYb1cNcyd/7Jql7KYbvBXWzN2TfckUA1M1ufuYVCoXfPvZ7HGgikhllBSpDZQi9nSDBL+1cQutKNlz9Hwvf2i6QBZ44V0wl3/KQgU5zmevv4ZQbMEh+5LUgHtxtzDcGODf3Jq522zA7+bKLa8qYYx56rnUraeJTcZLoojwp65yvWgyY87hTVnD5DuJ2GpQsQD7aF/qnFQhYGTnnuftMsIZI9WQaOTtN9v3X1EuEtjRga/LBgQW8TXUgoCG1a9+Z6SarRKnu2/uo7j7QYiQlKXsbjWZhH9DsE7pQXzP8Njn6DQVHhxQ6a4c5zFXNulc3wH4XnTz7Ub2M1yItY+5MlcIxn04X3zAepvxHGqZ9lNIwwvN+bT8aUC9mfsmmtLNuTYic+oKEsRkgGMwxsGIilUt4o2tmFhzhyWpY8xGlsA96IT1sZGo4O7QI2sp6GGJ04As4jtgo/kbNlq0ybG9nt+hLSzWoRZXNcBYR77ekE2U1i3vJUe0DAfxsWHtH4lMt7YSjVmkv4+1nh5RhA+pOgRYXaYXQMGmgE4zVjOEohqcVaDDucXOKc+GsEsq4NvCLuQtxfRTqgg8a5BxOxzmo9ez6U6bP0CxBB+b9g5HmCqSUqxoApimRPRaR9bWTyS5S8BhFVINq7D5ad3qZPc1eSlAD9usAOZbTDsoMVzyGDDRSLXYUoBvqMpe+f/jxgnxz2njhTO675txLN9spvE9njzBNoNB8nM6HkDM4++sja1ns0HUfeyh1UP8p7mOlSVDEGjDWveztkCRBN2YRvOirpSIUY0T8W3oddaCWKI0ArrViLr9gFvlfKLYbf++8YWJMpUaBr5P298W/43WFhKY4uUn/cdD1x0HzO7zCgWJVw92FgYzR/2C2MFuRBRPLDzBj49KGanmeHJ7FTOgjEhUXb9cFAGC/oIUMfoDcp2dtDURg6E3GCIDwAXnEIP/3/O5msg5WW93dZ5O7GX33gu8AZH7DB2pWmi3ieIJmz+rI4LrGl3hLNIA8yeqFg9xrMsg4h0EyJ0EF0dHgADDzz41izWkuE5ZljB5GmyYEoHzQj8AK2ZE7G/t0vC3a1cnhJEaSTHuO5+ojbVi5it+KY6/Oyhti0Sx9D930VzbVcN4BC2t+eSCNtPM7lG9GXL5knu6A793EHTCKQ4aYerxuoeJOs2CCCQtDdxniNjRgvBMCFwHQDNTOJCTM79r/dSyzCTQKQLxuaedWeg5p3Y/pYjQl2ynWiUNQpLWTwaX7GLxOBqxoneWp1x87fIxL+Hhak0jfc3MnebCQ3JMGWZK83d3WJqojRetHEKNix7pSMvJ0IQoDPpzye1n0xF0MeSqlxA9nPB3BHOWCuRweVUgKT8WGsYG7VuJHrU0xUEbjuOyXStCtTd/mOR9PKhK/K24HJhyERwsGexJaYYu1kGWQqOi58ofpZZew7IJmOBgw1KZuU4UOZEv/obkfrMHblBK4z1ML7gxwWl9YFeh8CL8k/8rAb3il4Xy8BNvs06Bct201paYJFu9XnH7rVt6+cQ2jKNDQY/b8KO8gssiDA6kwgA1Jk9eNLVpg2fS1UypO4fNNM6fvZw7oQbCHV04HIC9TP++7ic12LkMcKk/1vbVMItVmdllveNEtOWrJ1WC1ZCTEodHvcq6gKZJSGCbRM7yhklsUiOas3jpCNOSC88hOA9EdnpHHv3j5uyUFZlprfvEN3Dy1SpzzmPYR21Ujb/k9SftHWGpkr0nku+K5sg00gaGFuaYHgpreehePJBZvUgEhGV382Fgv5sU/a1I8+1j8EzlMykxQ0Wd+H86h5gvfVsN0aj70GrcwvtQoum/+0crtZOg4OGO25lGYNt/7GidxyUSioflwUxuVo80bm470rn6ueF5c7h9W4HTf3i7Im9Qz9JkZyYjM8zjNpOerl11BqxihXCbYgqxu8zx/FevhEnCNHKrzos9f8Nu4xnSA2R7BV4TD57O6DLE797KF9Itl3J4uk9QVWraXUJYSjPRwY63XSY1PGmndKfIxyPRigEjxE21ttfpQb7VlvuKWUkaecL7sgN3rkCbR7jdx9rn84mV3toHV0foCMlmQzz+w0GcXf1jYN70cLRWw4vsQqO9WEA4Lcq17HR8r/f9rTGjBzyIqmu1mVvbSgniF9fxR6y3AhrBsnrfeiPDuWKzKwV6nwZUWfDIHjlAmIxjP0vqsUfwGD5O2CoOGPxZp5VLaIfBPwsi2cyVGcbG6xOGblqLyS3wb2M5q/CkaC+3PKMBCDUTMHBwiWXIvp933YBuFPao2bbOEyp8AP1fu2L+1Qvf4sBTSVfNMYmUq5JkZDhJHYtw8CjcSyK/JDFi2DbPxYVfccwd8MTMGsx+yr0a+Lx/AMlyEVMOuwDyDpf0XUM8bHvLNrdV1wZzvo4Y8V9Gg8yOvFAq9N+GzkaRyLYXxZtssO7CxjC64bCM83VgiHsgu1uNzHWHfmVSS1yNRCb3cfsollnOyqV155+6bB4q9lzm+K2kVtzra/J0al3yDValI2jBv4WdsJtUV9wdV6o+JHnHZaG43i5cgEZNsumDlNaz7wyTQ9XyO/gDZW3bwutCnMtLOQaHtSawIkO5rkknR7OgCUtpId7v9hg0LSSFZ0uSdFnt/ZgHMSOgqeMpI+kki4e9llBcvoS08xi+eM999+UM7MkEVUHipo4ptmmRA8fhzvpCHh7f/Kq4EWRluGB1PzmIy9eyI4CBoSJUdBnCgqDUiIn29fLo5//tkCfoJWiWsZ+Qt0HP3Is7BcOqnOhKKniFPaLO1puwzJ9rhA5px1lIEUNeNxU4T4HHS/EaIN76I15blMgUp3Rr2nlVs0PSQJyEdw7XzNJQ2BOD33oZSCrjezQPx6pu69Z6bQvca9DiklL34eeCEHI0VA38BLWLJhqfQffjncAQQWYcYx6BJqZqHBCBwyuWR0sJsAXxeCdpNa4pDfJx+y37c5zFDJ2dSJ0ky//oWRzEXPeoRKG9+CaeflFHoxSdVNsPVMwUsNBrVmFazadgyuBwTMKhPTKnXypBhWruiJiU9QXSC7LWV9jLU6zkPeHLi2tZv9ZRu0a6A2ZomEASbjtwMCxsQA9CxUbdqXQi0XeQd4ZZN8Oof/Wh81Z3ypzj7NftbY8E+jbcx1PZqE4Uy/RKlDXlnD3DF72l/KzKcdqHvyI3e72X0mYgGhekSW80bqkfICsPdCfjA/5j8qBHBupRfo5fGK5fGSv9CkWDz7T9lrJ34NgukKNipK0GALsJVwXIRxcR4I/mfDOoXEbfcql2+4XOnM7vGLmbCjE+axqCiZzqjTgb9kLSYPVy4an4S6Gr0cVn/93zvTKtE1AMTzDGXDBD+5YUO0eN3sr33WJTZjPRDuREB1nCsZediF6tDukFhwP7ze5F9eSkcMHP1XnqC/dmOnxmwG2NirmuU/9JQpzvTLbh9Bf3Yvlx4aQ8IWt2/uDqju7iJJLDOuxkiZiNMU3QxelfDRvWxhJvSwCDTxZiYyrv4ZUNKzxnqC0nIqqAVlvnudMLXjZRWQf5D9hGnAsNCkRwlfamMaZxbLSfr0/r5C9NdBE08pfQRwbBCqkDDN64ktcMiL4svMaYpREu8RHUkyqiOhYj28LFWxipPWCnSmzg4z+PXq7oa9w/ODGv56bWixt13TZHH81EjloNk4oFbvBQhFxSWMrqSBz0vBxOMq9djfcitJgyh/wQf8Whc9HUdB71oem0W9MQRinhoHmm9kaDxL0HuY5L5/H/Q+ecfiQMzLFuzKr1UgPc49dbv4HIPHbhuPu2r8qsjOK71MD9HJtEGpsutkJQDdeg+qwBy8jTKR3AtAWqNwHHyCN1In9RMyXCqdVJG1HgWMcp7pM283e03lavd1qD9MYjqX/T+JsmQRyGvs+NVUMoA/5rh4z1fEgeaVV6BgA86k3Th3cMy3h4/QL61/Q6GdMalxRK9Eh895oUyKZMp2yMmjKnw11Zm+gk2dyB2ulQB6ftWK6Faefv4Q1z8qeq9vr5DGswXF2Cc7mznPHkPFpD+4eOmndkRTG4yu8oab9sgYRS5SYeBe7OZawqieLpPVAajW2G0B/+K6NoUUha4nix2qMfhruwc9l8Kpyp803Ed9exzNnt06unjEjTuGmBNTOr3rwHqAnNENj6b1LuWhmDFiV8fTxMkRgLe6sbqtiuZ5PRT4jnsSXxsMVlSGeVJy+r30ovw/11jgKAbg+DRSoMQVHri7dBgNtmeZxfaet3MPZ5xSC8RnC66uJeuXnknGnF2SY81Rhbazph669Dt232MroRXXhIXw07FCJ9qXK0nV82TIA16c42MFYZdtNBk8iwBdUJidK/WC5811B65JEeJ8rBm34cnc/jFqi2vpcognmXgD3fZCLiIM20E34+D1HpJmoM5yip+ae3Q5k3TbM/24Jc5O70UHPZ/uEc8HcSk1F66jo0Pq0ECFyOrJEU5O0zSDseIEUGZSLDzM5O/tSURlFztW8xhMyK6O/0Hu52xERukutX9gINnlJcp1nOLx3h9lqWXlO24K6XwaQmRev1xb4hfKIVLxpjf6d1L8u3w8pGLXESa06xiFMsN0iLQOuXLkSyK26QdRWoA4GUqKcaewknKof4iutqryJLtws8Rzc3oTuhFlRu7dSYNg0aKlMehBJT5j8yv+qRqifrMbXKwqZoSkXyZP+8aFk8+PXxuZ9M1rYzLB6lB1Zl7qaQMCN+t4hMedU3BrtknmiOVPZq2qz1pr6FQk9Bee/YAwMEGEu41/UdcHTZYipzGnzaPYCuL9rySP2q/98l2HEsUiCOwurhRopavu9VV+xJrd0Eo5CzCwpSAs0lYBfQQv9hOmzfJZ/AyySLmj8vdfdSdRpI8SVaiqZClg3eE1KsffkmGkDggwIM2b4kjbBVQP8TgAZtpuhfmyJzvu/Cn+x0SX3KHU8Wel6iIyK1jvETFFp2vkjRQcPKlEN66EA+n4hdTe2IWrTBNxwgqCVgpjJeQ0V8xsDE8eV1qtPxbdavP+HtpOBhdBz2MzHHXkWIgxZKYaQnMe1L4nvyaflmwrQHAcGwNpd8OmxiWw81N9/+Kqy/pg5O7p4DvuhTeQQk+ZdOmUvMz3OD/GizZLpmXTjBF3KrmjVRW03oJwBo7qcFMLyoBtvz6iOHdBx9A23Sw1GczIo0OqyCE9eYt5HNxMJOMmwqPjU8ZNCthDG1f2Y2etWaZ/TdUXTTTpsDX7BQVyyjsHeBcVCybwIc2NUHDLs4qFbH/eBHouXJkmGE/PE4XMyWOAePWD3SnUXTisrujASgJHa1qvr7isaPEKqNaTI1OU91hZ+3iMhZuBWQGRoCrhEQODVpa9gnhcQUVnAEQ4PWOSevga5c+kk+RtR1SfKbzDOUl+Pop84ZBiVQ8Kfd7ybwEe7WAvQase43vAQWiX+iW1l+kkiaO5Tywwt/YNEwbCYNQ5Vhz1bWSQZadODPIBgqFIytmQvWS3wILp2rwLvPqaZ0auZve/sF1c8MDXJR6g80QS1A7qLuBP3nZMOwetVGf/Nsh88UWIw7Qwfc8KvWfcV9x597WYQgeeBlYmFXP5g9PxLQ55TGyLl0atX9cCxs1lUBFmEse7wb6OXtvcCUe0/Cob75+/DzsRWmDt7u9f0JSyBAnA/7+6JYMz9eQdluka0sSSGiu7kbEqnvGsq4uxfjDnYBwn8W/Rw/ozkO1reyP8Wl8RW/tL4z08paG97xCEqx3KnXc3bNxHvuSz2rsSzDo9NuQWwlLuk6B2byhy6/D8eA6TOQVzm9+FUMugTdrcZEvSHdzwfv/P4bLKNcULelheTtXBAcH/EmwhRMgSni7dv9i7hkDyUdCqirX3lym+4U8zLSIulruBtJSiBkCHakluW2qXbQm7MWrHikMfq7106pFVxDbN9i+/IQh1q8ZkQhQtEUaz5RV3w0xOJ0Qw1MDKoAy1JWvDUp6gDWYYxfkikPoknTRlNq/0zMszAcexjGl9AuJLJS0JaIL5auW9i31J3j0yrbS3KA0QGxSBJ7fk/lIPe+jDLqYVla0v+fz63kvz4bKmPt+gN6AyTGimnof4mjsATme/MeP8S0+mSVCWPvJVI0RALIkGAsQ+Mdcqa9gORtTF4ANjjlcfQHxbw06pbY52fbZeNmGAA2wZGnlXr9CoAm7IfpUW6chjIBTqPSj1bwk9FjlVu63MNSlAAmeYKNIXHwwVylZLcglqRvln28TZyNcYeOdXzlT33UiMgy+zI0UaIrXqyXhMQ/T2PyjFitVtxZ87r13dNYbPx1YWX49yv6FZitxaBV2gNNilX9YzgjSxgzCZwDBNAlj5fs6QY22+mRuRQv4Lp7bgUes/3Ga6Mvmvv9UjQHRK+xPrAfqli+YpRlNUTtvYGVmQIgu5BRuj+WKjpXnRqg7khR00eOWTOIN1WJ9iMPXa0MDRAXcZbH617e81gNDpGyBWRPHkAwjh/APaVw0uwXmQWpl94R+ajgIVX9AQGaoRcDznBdYTM86LxZN9HFEvxQLCR243Lpp2V/+nCULdx72GiqI/roTHzIyLgPzjRRyjgrpeflfDojG6CcrHHcSfUHwevAPrafgReRKOIvh1SreKYpeBjAR0uCCXcqM2HEa8sHD++55mOxvS8gn7UxOu2o9x1/mJ+bFN9/Wq0q0yjRfoB2+Jdll17/m+17KJhYwz82qHiOmAYojM86s1TBpL/bGvL8ETmfZwGKxzHk6OE1i7xYcf7+LKhBZ9KW6uWQTp8N+lIm+OACTHbJpJLgOk3Ni8tojIo3ogf/gFpgoBGQ9fk1f/atwMbcqLdeEiszJsfDs6NromApDGwwOJ7nQx0AhHbAqxurdFSf4UFzhg+PgL4pH/qaXMl4VnaWqbFort2s/+0feX42L3E3NXE5JH6XznHZxhXhrkv3DCSnS1sK2ZOPdksX/KlTpHAbsIZBKyQCfVs2WZ+VjZFDxR3Dz2whiSw/PqICddG+XYxIZ+IjL0tqnUTpUjJRzukw455GkPTyZ3mpbk92tBXcaVIkqLEurj1/IRH1V3k/6XCmLXJCUpCSBLvsp/y3SvE00sBGbkGoUlNn2vYXF2L8FOn2mF2lyiJIxOi4jZ5braAp284RfSLIt65QOQZkM9LJy4McnPT1RYIY5aPsxOoXtkCdxjJjCYQFyaMI0wWLq+msqUre+nwb0IaiHkPNDTBMKDI+6W3G6aPmLeK2v6xPg5asOdziiUsofULq+nLDSl1IXRIxjklq3RORgCr8eTn442NrkaQMhHzw3gxPCIg2xyFYiQDPRrdZZZoSRtWWRF/YezxQJ1D/0teUdwj+IyTV/zn8KJgAZhV6AqCX7q7VaQQWh+ygFrzqhP3wgAL97TnpKxTaG9fV21eXnGSai4iNAeYDVZPT5uu9fDKEH+ivW4esMRr9OnuiwVM7NWrFHgUk7TFz1XRWl1uZTu4h4zWNC52WaMnZfmILqfjyOSofF/qpGqJydau/f78vlEQUZlPo7DF0+hAcYyQfBJ+jh5OsC0jFTo/+78HIjlv4xcWtRxy8imEbOoIEEtl6NHodqi8ggOldKJDBTSOuB9lQnbiKxB7cg+mR/eesZ8jqJQVtidBzVh405nyRzk9/f+Rk96AIFAQ/0zXSPLKaev/9X9Y0lQeOUqSFDwxbjlYGWio7gorwTztIQ6W1BH0C/AuE5UwrKsmhlVlRU644mzFTt3dIAb3dbMe0PBki9SzHcQN/15rP+198DueMyup3NfktqY7TXniWl7cRKPpxhWSQtjqVyBxMvZsbW0p/CGy8z3M2frf8jdie9uRGu6bg35hhFl6vqot06iNAWdrZSlCRSMrBSlDm5DuuWPGBBSZtIoG2u5lcjAMXH8R4asgYIi2L8XSGZ1LutpjO5k1bUevyJ/BUpzeeaBPSbgVJgxnTR2cJCeCQ923dpg6jcau2Q0PG6zo1SvymkoK/qKEZeOm1cDUiGrVRjMJQWXTgiuurK2eo5Kdb7pxKU/uFB96CbBosA3msApk3GDSLbSXqVhbinx1onMAkiOJi3iuscsyWjSkDsUf+Q28VtVAXvvve5vyZizN1K8a2hvhu4uOosop++89oyH7drl+0Iaitb1qbVMbITXmxaDAmB0QxzLGaHkF19DWb8q+mR/bukqqlkbtfoHTX6wQAIqhW3gNGdUKSVGwiWKYoNi1n9AoMX0SZiuDepRvx3u4DdoTQWlL2GbSYftNXesiZsoMmgCu6jGMxljFL+o3lLdJumxepqeuRUVpRmERYJkZEBCgM933bfWogveCz6B/U6XWggOCbGKvFGzTFSKei7uH63j7jJwim/La/3VNGc1eBtRvZfMj5qEVYS/GMYVApcFIxiTLOHd9Ay2In7y/8sxtwYq7vdOO8k+IladGzyDnit/msxNGpWqJVforMqiXiSbg5ZTRxoYvwNy3kpZiZfRbbtrDTR4UfSsrm7371yvIPrLWvB9BqUqe4IdIViuoI5Sryun0DkxQElR2TMgbPpc5zZZNkXnriiZgJnFI30wKHNbpyjfi/KjwiChHymHEtIjNsHcvz/YeOhNd2XIeHKsyygvhntTeNjnQxkBuRKRrjrnShqvPLp6rKsQyqqhj8RC3u8iQzrYWMTuuvl+224GYY8N5mBLaYsD0Cv7GZO0hPIgt4QVm4azc8M1usG5TErf375zVc7Aucm2wMZ0zukYe+cIZM5x3aF77XRz2JyjOlwnlt+uGU5cuqaYN0pDkHAemixSYcO71wGBrLMu3Fzo6IM7+ycmjjsFI2c7IVrW0mvyCGtzw0UHWHIM20uIucxVAPK+XaTGCyfE/OcGQ6nQ+fymADDNESmwiEtlcPg2kcvZqwPN1cvl7NSBJ2+jx8jyhF/YSk+IyUZejegx/PJHmcAuizEMR3ajWWwHrNiOBQcWcrWySBnrTklYR7ci5Mn2zlOj5to7v4tKXn2sHKJemSCOs7iImix52hGUhAGjpAU5G6mfIU4gfUiDD90qC6ehk4gXEwe9jYglU2Kts6YNEUIhDxARP2Fg11hYJJ9ZxVI8SQIj2TaYfw3Fk2221v7tURTvJRwjl3iyEkHfxNY/g8o9hF3vtQhYXKTTXt1lLm14fS5XEnCLWVGXPWgrWvfqwud0gtzgAj8WDpRqEXCv0bLYWhbTuNIyD0l53FO2h4DrWxqfghL7KHgO/OhmHfuQtym07CDP0NSvcGZZPPk675LPUxw+PWZQe613o66ku2K9jlcrIsDvR9uyJcv5LT2cCkXnNQeMGyESln/ZH9Nnh07ZiK2DBS5sn4mwRRgf/wF4NDA6lmlC0I9B1ZU1URwFsDCl5tOcjZ1JryAlfHyEZepxCgd7z4K85lDRcu6z1YB2u3nHMKlc+sgNOR1+Zk0ylNfn/SUuCNz1+qPPth8P7valSE+/Fxdc9xnGx26V+atfpC1z+F9b0/aNhmh0oeHWkqIdTQD2ZJ/nvPeF1DcVeMZoOFQjtaGzjW3RWo1Fvdf11CgNUBWBSMFo1aDLWTmeLFg+HQneUtnOA3D6ord9J435hlWhYifcgvSY/e3gZCGbhA4ua9Fxfe7mE4utxOshJMxqlbj/HdWMg6+h1muBhvhOpLi8zYGBxQrYZ2l7pNA1m7axbLlrWxn14SotK1rbAiax3ayzsJ7UcBt7YWsOIBK89nna44S8vJPyPaF9XY7reQb2W9/9k0RDIMVSqJ4ZXoqBlg0klmk0ggy4K3HUOWPJUXYzd8hrx/qgvAuHSkO+NJhgBPnTx9bLArpth1/5nxveitsmdZ6bkPne5/YhUswK4y74pKRmaEqGGm7yxFkdbEcat4/6ZEXcUS28IT25HkL8hf4v5K3bNpZeE5yJnlBlTvL+wBaVbUNM9JKLQvPyKDmwfgsuX+YIMU/gu0gnRVwBzzo4i9Y9B2JD+q1fSgxVSMrZbeIZqnS3iK8IK75dGAObdVFM+le8xvThNzF4WUoAQ97688GmpEcsvMgTgdaifxQ+fiqEhENJRkzvxE58SFD+Rb/Gx1YmzkskgJGyHjc6x3vtlO0HYaSkc4WmkibteEKT8zinn0RN8J49ozNf0HbQy6mEKjck5S71bRBAY8CVfqOK2UfyCqOujS4U6yhFdEkpivcni+sT9uvtoUpiGpXwpSqZpf5/OznpRYiqhgoMJ2IuaC82WpjruOHwMb579K+r6Gm/quuZs2RzD+TjRoUCPc6EcBhEg71HZ7ZoHN3RPor6bReWL6HtdAhZq908O9gF1NlM0aZCN178MeyGqZzHJQheAfi4DEdf9euyCKpUA6YmX0UlXdSbU7Jiz4Eixo8bqcmggqOTfF614XN6H1WqVpdY/i3IVbmTQLdHQHl2lOmDXqw0X/CREFGlOpBehgmDdSSfcYV5HLdPwHFG2m3m+ISv48tk/E7pcVaEN+78VFgS0gdT8epD+zg15VPRBF9PTzI5RzayNmuq5eDO76N+uXgE7kqmeNBzqv0WWsxhBIJm1FOyGWVkkecIAn4luqUd0UbHRTM8kKsfMqtj/P0pWe89yMbL7S+bCcVGfoY9ZXE7skc+5WqTIGI/JivumUKlXrtsHxPoZ1bG008ufT5jmKpZDgPd5Xu9xv4z5JsOFwq3VuexcWxXqrsHNitVyhB1qeUO7h5dclAugpBXWLWu/Y8wtnmqAhcX/UUDVT65TPAZMNVQyzvwb4svVj/o7Cjuyliz8ZxtyNdleUDKvUZJGAYsjDLb09lLvFs+U8tS4Nr790kTur7O7xExX+smJb8THmKzFzPotI2p17+Yihyxfvrd/Jl5sC+riRZemqqDmCnwagUsmivBAGsYYDosRJNQ7Vg8LlK29oy8lk+hLGORKTyeWUJIBcbqJyNLACErZ0GNab7yHrLkpaYXKO8HDEJiqrLRFJdyD2aWvMi/yaiavh3faCXAZoeQ6LJ4pAlU0zCbqylFnv9DXk7DndlfMHXzSKBIZdsjTYwxFd31sshSGOuo1vAa8pyqVMjxEBVn4uMgQ66s8449RDtqY9loClrbnSmD0AnZZin/2epPvT6hWM+jlEsRR+HwOVCDG3si5V5vM+48LFod1RocVIazJv8mOrJo4V9Z8l26GCubz5IAYbEkOmrhTvOfbXhZScju1hKZXq/5Jt+7qUeWsD2LFEPH+gnEeXVgKlfcLAYp1IBicjjpH2xc+vnaQFjAtpc69yZsW0HEw4/0YyEIbf+wZmLeISqIQ+k66sD9QGwBWmtx8b70XCYu2ao0cDxan5DOzGIpKUzvQ/g6CnJ0/LI/6YTr68OqcMR6oD5DqwhZ62or1K+gD8zC3zK7Im4CKn5PgyGCsh8uD1Y6ZsnnUt59yLxaDttbtrbJYz7dg9WnWyhQ5meHwoBoC3TbGTogd9xuAvLOT9IZwNkCaUwyTsS+8twsylZ1PmkuQGcpxh+FNnD4m2JHaxP3Uq6JchNXwy3bwu2Yx7fmzpBM9GaX+fvdvAeUMZ4jAFs3vfqCsM1r2PGYPvAEOYopKCc3NX0wBF+L+ox1Vz1B+wwyia7OxVlysma2HsaUqQn1NvZiTVIF3JHlXYBeXoU9lAEGPLTTT+p/D6aXwXgq5zhD4uliD8+eEywb2za3l86F3BFeSSPpL6eogi4MrszT7Yx5FkKxgSwf8vhiTMS1E3RT8mGfMYP71OvYVcw3BPdqIwu7JzqzjRRMe2w51JFR6S0kf9Lu61jvvtGQ7OcBkTRQ0Uu9M3lGDETqhMsAa9FMba91SIqw2a7rZ9bXf6VtWwastPcS48iLDCwgn3oscSdshcBmViOljxwv/KpsbDGuKZ/fTFA4F5AneDD6FXi4EuRczqk0BmG2kwMwIDxMrl5snbo4EtH5CSgx/mbQD91u+H8rHxeycyU9An79RSjgCqQKM8vWkZZ84RTBGbU8MjOs0/ms4X99zUHJEz6k1hJF/A67+HR7WG1QPIe7a8ZVNSZCSqrz0nGwDIL2FmM3WAX+m6G5FJ1w3YW7Y5NUK4P5AkxdxJun9KxS/QfxD4Irtt5EUcMlgSLnsBju/Tje0briweq9oGzF+qUbWjCq2BnOsh197Jk3P1CoKk0enNOI5DM1FPCMB870bS9DtzwBIvWUfGgVFd2/UPLqZ9MNS7ElfTedjE11LDmq7nNsJ3YjihmzAfhLPU+MhGy1J6Y/GfwLDzDW7t7nJl21u5qckdxRLx4cUns4PXM71EE1/vOcnnIH3BzxNHF7DiVsQpC82a/rZamVtDhPQSHvE66GZFwcNj4IVg01a8m2Bxvace1ML4ptyrVRVLLkGIPbFWDnQV/kEt8q7UU/90P3RN7Z2ZPAT1+W7LDlfBk0RWJB8aoDoUw7SQSdEmeM8eOZDlX6gjNtEseD4iof32a0m+eK5RN9G7MaRTRiHogxAEgGHoR9Cinf9rZxBYF28I/l8pXu0lzT0fI7nf3vLp4R29DRS4bGGRItruhHbevSCFD4fFRQG+pJOcVsxdAgNO3113zz8x4nLMBFg6nKFZICvAVFs5UZSQjPmOH3MafKSXkHwe9Tt7exqgIZspfOp6evqy6p3N8mc5yVt+LLsqjNEgUBij1OstS87ZlNldLR2d9UWUDroTFGgQrQueNtWs3WZyxt5J0TFMzjlG5jrNfWJAdr5wv5RAfaEh86poygY62Pso+V3km7pUBAGWcs1UAhopcaRFycU3jTmO36PRXVFtUnu+Ml0KACL8pCEV/6/bYYVqONbrZZDOcSwNnjNdp0WpenSgXB8kBaNK54Ud8RxQZnxgC/by8rI3mHLmiEGQX9jt62DkJSyd3PtFBgAyph4rxdqJyvXFnBQ0XEarAxLrMPOLyh5SS5QGvT8cItXtT0zWyaQMBvS8AIm9ttuJzXzgS8S5/biTfaZOjQj/epf6KBCIuKEj2HaYa7EicFZ3IGg2syDPUb8xmsA8WW1ie0ezMEXgiR+z5X5VUIdxB3tTWU3tSZk0fJ6q1B1znRwr19xP12PRD7NKksEiHiAi9z3fAMivRAvnSoO8wxZyTGBkU7OyQYR1JgM+QmMNtxuOJeHmck/h5ncrL+eNjShs/THjMhL73Htgn3bErXA9QMWzTMkbU+MJPHWHVig4I/dzxeE7zn1bSz87Nhbw0w1G//FCa6k8Dmz6dNUbNNs6L3pV2tDhAgZEMb4fFeCeSLbgMDuR4dTwis0wCE+mv7WiEFFrPIRIQnmQbSxm4LIzZ+4/G+U2OiEGhSGbtH7toWfDzvY5IdGa9hZidWyPr7irqgxSQ4JdOFynnr2vxo2cy77/naJk2wW4M0OZvaSlN98p2e6VhRhdbnDpOPLEfCmWOTvcuZk9FdyzDYlPDIl9aYkqPEoCcbrPg4OoOC2CJ1M9sC353PAq/PfaqE2Izj76o19+6QJXJItoJ1CRgMa1itr2Z7zuywzEjcHusWpTC1+1ti7tYYCTCBktE7a0GtTebBH8JdbGtkaydmRLeQ8hZFoD73Te1B1fTDUL1bT8pk/EU9D0WIMtXK/ucd7e/0XllzoICQ9TQxB9Z90uW4F02aXw3DVD68teNWwC3cheBIh0MCIrSKogtdoSPcKZlu3cMB1fsDSfVF9FlCmg5tj7cEbvzShzy4CMCv9hPOX9cfOiQGB1SKMD3VqLXXedCKp5C89uDgNokvMLWdE21qhgf1/7a/HEQf0urGvYZFnRj9pBtlxgPG4kDeTPyFbtmuGDHuVOAZ9agi/Ab0ZjiHjr1oB3awcJC0Gm3bUGSZxbPui59ZTmlDFX2iqvf4Wy86SZH9dCpRlVCLO+/G7UNNvXSTjOHMxLrRe+pz4Bej0tb80uxqs0qz8x2/meSBbh7Zx6WkJpmisqFS4UAjLXTSd2hyTlqDxd8rk2hGbpP+ZcP0SKw6QlpKD39kqL2z1NLaMb6vM5ncMJ7aBPQMTToymgzszqA/mgOUOzOdHDoEO7nQhvk6ZpC4gRpWEn99TXnaZb2LBqIcVcZtQoibSS7rCAOT3vNlbeLlUw1huX7ZFnVbFhoMN/V2qrhn0Tn9Ze55rPJIJJBV4NwC72KXabc4/NJ/MPuoeZMqbMEwI2xNaiQXj7PBVo1h1+1sMcfrr4gZhtub/7p8gxKj/tPpIqWNVN2iH0BhOvMYjlgNbfrkWH7MIiHBlhhASXRAeM1MuCuXBKkNwKouzjlMQDjc+c55GTkkQFj/62gCY7Tpek4JLjbRAFbve7ta6IuFylR5hEm34U+HMhWQxZZpIfQxsZqCO+fyb322Jrdx8W/Vv2gvttrRTa4x0mNBceHvy2Hi5vPU7qxjtAPOP25XIcIZZGSYNctM4//FZ7p/QY5h5M07aGj5tnZycI7l/xMvcyMTsx1zOKj0voBTTc2ZwiO1VA1muw0EbfbPlFWbkVwQab9501ZFOvLLmUn2Oled7Sukys/QfRFISHuU4Aps47fct9gBOxKSv36QuBTRiPWmCBShgSbcP7W2mf4dvpQ39l1ELRI2LB22Dr3s1oD2L0GFD3cTForZNc+rLhomP8XEw0Cv0xdASzdji+TXXsG9qsiM7HHbFbvczuwhu1059nnkigfN+LJ5MBWZMd6y09QCR9FKRNACwZnP+zRdgCa+28ywFqfjLWHlrhxnvYQ1RRggqVz82tlI5zQbOoOSdeDxxyK25ItkgMBsPyZpTOUpLPO0DUP5hueSvbrwcmiB4eHC9ND0qoePMAUdvsvya5uAj8K47gVSnlBVNaRiR9avKilFk9RESQg9fIisBwZICKTBa9SnqFIHZsgq/nk6p/tDnUbL6bhrUTdq+T/HgbqlTSfGCK92F2z1vBaHi0zqttWBWBv6wfeTBqnNAMITQ5GE7MGPRwI/an4YIDhAXiB2+LJKHQid4gr/6JINCiIQ6r8Igyq2F//H0thOkTk/Y9w4CIxVp0HPy2T2G7t48dhABcCfhqrZ+WVvdbGVRLGar4WMr76/pwL9JCaPP2BbsYv58+QBHe+SP/eTm1kkHr+wzBg3XMamlz1x+X5VeL6zgS9KMeDsy2/uQqTfeey5v8tIkM0OAlZPjMpm48PQ9cipyJr0I0nfXJdPwikSOtWWA5UqqEw8ts0oO4a2KU7xRSj4Jba5uQ2Q7SfdYcruED941E5cBLcmWdAoBkmQfqzeV9t6mSd2miFL2nAqfu4SSEczffeluS6J9wqqYKAygd11vQqfGTDszHLKqLAT2wwgbW0w0YhZ9DfRWCmPJHl634ucizNkiREtGUd1ZB076b1yyQvfUW6LzuShUL523FwprXVJWnphoVsfRdoxgb6DGMQp2n63gn+LxsYVPNDpDqj5xl4g305G0XFKlTxv7xypBWvSrAETAKjJhq2wqvyqkLRwU/9IA9Da4eckOeR62tpMQNtNM2VpA080B8U/yOkEGWZ4kKgwiZHe3/z3aKLddTIZ5VxhS8ECXC5kqcrBgY0HF+mMR+8wCF31ZuDr1VxbZKRxFKrdbbDeFWV7A2SJq5o34e+q//nt9a1XBlyJQvl1O6uoRKZHKE331Ug4Tc2D71tn3T5p5LNHqpzsyt3lpoCY+MqvRSSIRZmMKbhJ3X6ux3AQlqpZNr5CxHYUIC/kyXslrZW82VbJ9/Wsvc2bl75OSZyWqtAE4gpt7t94/9JFNDGmaW9OCG3DdqhoDInwOpI8AO020wsS1De9EVFh3FQ9QTW36HYxaNTU79aN08ngIXxAO80t9TcD+vYuxxjRl3sN9dkRNk/xIhfMVLicJgJhFT0fhkt9vbEln6Hegeh1JAwyY+6cmd3EgXtuTfeL9CKnb4uR6LlRycVzUaful17is/cwfRtuiC15GumKBDLz3ILBRwzbA2HoKZAA1svYLPs+FyBCDQ1rE6fJGvqEmShIqYoIPPnIbvt7lRzEMpJSeQrfTTPe7BEGg6Kvoia1ntOI+0vtf7+h+YbEsHB0zKStPgQAT12ZnRQj1EEBLw3NSXYNMoNAsthZ0TS+xlSTV0Wa4EYb8OQdXYBtY+/c+wutFv8eWZEwDTflY7FeW6slbTvSuxkx73rs7rCVTEcMwDSx85oWXRvgM81bcGU6XYUvDR+epiR8Wjp2gq6ydNG1KYZBUqkhrS8Ec8XhP1ZnJWkGveqkIQbAhFx4+TvCLWyiyh+S0nDg3CtSITuA4gfIjBlF4IsGPcJ/qqUB+/vSoBHz0t9SoabNnIa9wIhlbSG4L+hIDEAem1PMPYk3SEeoswdRlOCtDDB5TsqTxDtBg0j+IASGOVsvomXdJWE+vbxAD1ioElCGNvLLWUDa7ziEPspCvPWezp9CPHc/okAYX+4xFJ7GuNf4FlaJuyPaXh89Pdg+3aB+6k1BnwXl/ZTmsrKhvwuEE00kDZUA8wKqJmmeE3TFVSUg42ipoo8KAMJbmN3+Ab0R9e+OzjvvFfbI2p9D3ocHqd6T11lInagpL3ZO0R5GBIkkxs6Ce/zGr61cqsAI5RivKsVCBVMHFMmMY+rfCqXTI0bNqUWejF2uKzkDmZEZGz1xvzf9gqeqnHnC0JgXxrfa6E0qgfrCCoOWS5+3LNMICg9eOmGT8kzYqgTaE/W1+ne5iTa0XF9BHcEhxYKAxAnzNkXh7YgUYGo68Ymn2W4q3/jkn1BAjG16fdsccdG6uetfTP8o8vWzPyca8mGWs5BprTtp8XcJWCYqqsXh1YnLBLRxytg+9I6czc2hQbppqUM8PvAlanpz4wm2sPv6NFbdLEaQD4HwBFauJoiM5SllyGG8lRpd8syk89jYsC4e9R7eugqT3SDjNAOoMmS/3A4ryUNrc7zYYhBtaPrFvBnphn4rWUVd73C5Cklcz4WG1qf1d/ZpFHOl6+NyR/rDqirUQ3ysmzqAcpepvqgVb8LKqvlmi6cyz79b41fsWWshDZpyjThn0wGMLv1rX74ReiXwiTkqKcdxh5RWtA7/xUkvisduxPy9lq867GXtiCeIbUZaZzgFnwAZlwGq4zyv/2pylKtEEZrPASB7EZ54sRT7ASECV93m9fWoDutduvbTvXvPQYyo8d8HA3a6jP5PhzeE7OA08e6EkfIOdP9ughPa9HCoZz+ebLeVzjYfoI56BX3ChwrwS/xpX/3HTL4XGd3Y96J1sC/eAU/7d6ZGW3GxCfGmje9tnJVrQn/6W3iTkL2rQFGuHYEJIUd7Qk+HCifMww6vvlruyZXEMPvSaEGsV4U+j8KtSYhuzF9Qf/jVho+n+EtB0GjEf/d1ijXqt6v+nFHnxbWZnwNSQndNrnm8tv4wZpB52jrTDbMyIwebdhx99c59MVBh8WQLIrDfTBuibFEhXXYEAdbJBv2ebpaxXWiN1HsFbGcPaxg1fgME/oa3PowK8siIwUhjgzNx45KklxTH/1PVrvuKlzmPSgQm1S+mTjbR1PvxSgl2o30Bncy5Gl4+eWoru2FutMyyAqpWtL+mhwc7dk6gSsKmADwzAmKC8tem/aVaPSP80g2vWSiGnjYsfG9nCwSECYADcGGHaTePOGeP51xdGoH1yZeXRv9PNFV6pIk8S2Ufp0PZWjJyUI36gCF3Fks3EvN9MFZVytkDs6Oi1p4Eg54KuhOI1mU7wpl3sNpfYFD0m+CGtRFRl0HcBgoIA+H0yJ2AOyehYM+wAVLWI0bSuSZxO8oWJBGkoCz52XjBY+eMd27I0npM2VaRMEPBpoRi9LHTAm/JwU2KqKFrKbWkohxIR5Q137B4ga07e4/5tKXo29R53j4YvJGqj4Kj/xnmus3o1sL7FWHw9KZvDik38T7L3+kQFw9TyN2Y2VbHP7Pl+yb2AM3vGuycTkEvtyw5bwr9oX+gsohUG9f8J5neHd3gjgslNajlzllxjWsv2hRKqhFOfQhENksJ+ygcEaJGFFoStlzU0AHB+VI0vhb+s3Mm7PfEmWEY/uPFbLkAJpqTcxL3B9bAZBIrusewz+JPqUObvsq6BQKGwc2FM8pRO/kg4MRpkI01wT5o5qFB4WxfqeUskuzq8Ng0Hdo4+6CEWbPCA17MAlDPRO5ZSRMTsS1jYZo9OuGA/0hIvJJPYTlGxiXs62tJh4/7SzkvRK3N075EUjNfBzuGPIBAY17Q+o6PjOXOW9s344ZFlyYkuoPpq2as1nyQxnMdMTEP1Nsg/C4VDQiKwIAe4GLCvsq8UnpqR5vLjPu6qSe8BGv7UMA5U7xYRhYi1miTOfLNKCcurYKA4SZFVL5LK326OQ0/GMtzBDutxET3xJULNBCvb3cOQfwbgirVQw74KMSs30x98VoSkCK+g2pdF7TvGiQ9jVcShgHGf9xfdPM7MmFjPccHlkOBSoqlF7uzXJn8NvUV5ss6Nb1pUiu8r5GXBUYUFfBwqgGNV6EiDuLCKjvQT4Mg2tJR9aPcQGXV3Xkpdr/EhhbkW3W+0hhdF5I6p3lK5VW8boiRiVqrMAudQ9Kl6ANyK+XG0TiQ2x7jxe0RBIoTfkVjmdmvDESha2kFIsFkgbsmNwUyz4dM3rkX+w7J3dc9S4sL3sVyfoK5fB04R1C/0JtKVjtf2Jztd38s5IeVNPrahSXBm1Nv6I/IbzfiQa72qeKoFMCPNBkbG6lvuccsimWzq5R/cK21IDLJXu2uP/3TBP8ZegchBxdPzRei6UN2byGCylZaUBU4EldvjeHBhDJ7Cxg6nNkek8clYlOJp8lEPHd0T1DyLoozQdPRssYX32hOqJlonRts6yh45rcKi3KNhxMb6q0ZazoDbSLePvLCRMkY8BONk49xtA5722jtCYm1/Di+75+eZRD3nXeOirxfa08256dhwJuiGFVsgPJP71mo0TI9Yo4W2cT5+MjpSfFW7Rbw/TepKefpjDuRjpRsNGSSJzuGkcitLSzt/UJxrNInHIJU7h2iNRbsD2/2d8anAz527Bs9URz8UkNn/A2hI7WJO8xWP2Tq8C5UQnju3x8ydfplYVye/YP+9c4LnMW/StMku8T4Q+lpu+m4CHvjM4NJMRAGdmJqOBmEUcD65SrDDcU1wPCxwOfLCzh5RQFdLwXaaO7SQ8rqkrBeArQZSVsGNI0/IhgUTr70CQ4TZUZ2IRuIQWOLuxuEGSKfAeStDCyhbE0/T0FFr2DCFWhNdQD1cDX/WyHGqjxUTa4YR7nFO2xyxFHk+h1qQkZwmlrOdIVn469Yw6ZvlfRHxqLh5wPbRIDmOKx9dOosCKTlf23LFiqun6A4CEMm2YfeSQeyaeX+ypRDe4R1Z6+cHox5GwKE2L4AgXwLje/AY0/H6VlbRtZeDnMheXTv/9QjtrHgpPfTEz52mS6+0q7GugYYEGqxf619keVkgP7B3xrQLiU0zQjL5LWHHPSjAAp161O0bQ7NXggT14ufLnxvu7bn7CzCqBCEYvsygFHhs2QPd5b2Yo35Vh3VQQB2KHb2EX8YzT0iNSdZ3yxJ1H14709gbC5krciH+PnOJP5TNyY/U2n5wjYFGuVtGOb76/NK83mYZnMnuznX86faRwwh6K7/8tYKeTpyq6sKb4D5swuyqVx3h5mZdFSi+enKw+cjyfHKzbVZYPWcdr27PV5kGrekY9xlRJO7OX5HR8y+9q+y7XujL0Pcu0iZY6zomv6G/eYPm3fweObMrRIdmVDQOFCOoT/U64PLQ5IaDgO/c8eHH4niS9nENWGdnqiERpLC4CnZfyFCIqygoagX1DYQKHdBUvdGBOlg1tpeLjUQwO622WeDGnbDn/QD4wJ7CXW2Q+jk/wga3Nd0hXxjID/DDr+0MP/NUleQV/yaM0P5K2L9nf1+IkUYPPmsktBue/0dOxdGXizZN1AuZZMporavYcN0uJF+nqoNhJYrGpt7eMtJ/kHhZxlPWb1hwMfMqMbH6Kswf2Zp+WGMcAxfeEMSh7hIAZDX/m92CSCMj+Xwq/0Wd5QGIbPMUvCTLqpLxEcPnW9+UW/e5zR0TdTKK5cxU9geYxwNS6i3HBkxYq2IpSYrP9CMdlKwjmK669VmJyhFNCqtVgLMjoFXoW99fbARoXfMsxQ9gxOK99L92uMzbePfJaj9atmvoZ1S91QOCZb/OFXFT+fofWQxiC2va6A+aKvIUFW3oJGa1RshF01zI66BvpGG2niyFgA+325K73ktN0iMofxHLQ87lEMkJLjWkB7KQdzbq6N+KztVkPv7vXEsgXnbEcT1XcX1YfMso4ROQVbnDSMnpoU1Z99puC0NuTQcR8yZ7ke0WSnUUXIruREPMLq9Wx17P8x5JCvPiZao653gHF71Gqnl8had4S29WOVa/1fX3S7cqhyYG9XPw3rX8bKSgP48FNmSoUIueOelpvM4f47J9jaYiFTHR055jMho9EoSk+XzvCSM+sOEkbH4ZWwVwNPZNdLLsFb6STx2T5SEw39ny1iYUVAp2uOytHve4WKyBJ1vGzwUkvAxjgGWOTcabAGEnYZWmsM087hqOIkSYoWHbrbBZfD8xLj9zyYIynNeBFKj583OjlhWzw6F9X66m2w7F9wyvyf3UfjQXG7y8q4I3rHCIIygMmc7yVdGWjAail3x0FWO9J3xdpKWdC3AKPHkLNYFFnWph6rHvMRmbTXhQmhfYVWlDLqokiMlXAcD9q6Y9LJAhF1BXt6sakD1Q/iS0y+gOYZhpMdvi1xGP/2XBhmC9laGtmwMswrf05fLuc+2DszX1CewoHBwFCy+qMyfLSk=" title="Mekko Graphics Chart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818178"/>
            <a:ext cx="3810000" cy="4658822"/>
          </a:xfrm>
          <a:prstGeom prst="rect">
            <a:avLst/>
          </a:prstGeom>
        </p:spPr>
      </p:pic>
      <p:pic>
        <p:nvPicPr>
          <p:cNvPr id="18" name="Picture 1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xRdLyPBQmwFteRcmjXfmIFbm3W0VzdChVJMhV3mHDqFd3n02aUFWT5uGt0RFu/sjMTyHLU5gIbGEfHz2D6/7SsDoDD9FDda9aiA4RUyXnpOTB4PDnYdt789vE7jWjq7wJ8MuKnv0Df1fjxmZRK1uF+yVafRj5zaM71LJKS7dMYovlRKDHa3e7mMnl6peiBN5UzpjYhZC6lGvmTU0QcUTO3QL6t1mFNNHzOMRqSwkPINcji5+pAUmGYP8Mm9+OFn/FF2REYlE3dALr2leRHArBF+iIF0W3Kl5xmdsKlujW5JtHNe8LL5eKxA75bwApX1FpAcspnLSbw7BNMwcEPh5/HDY3y082guCuc64jtgDyqNDcZVEE7+fJjkk8VsqWwnq2Y8tV/M7M+P+SaLZAn255RsBuEnIbb3Cu3WB7bKvEcuyTY1nh9w2BgLNq/Qyd0i1lku8qEcZtzVlHtDSaQhIK8uG86vSGkrcNaUb1cM4RUXXEQ+wVqFsRRwTYkH6uVDIfSUEjiaBQWdjIdRmlvkUiutvhngJfMBbw2uMJ+haE7uPWpwTHPFQkIZv/2SAXbTajhpLTSbtVNf51vA+xE8QY1BhxLpZSf7TExyOcmp45KWw2qcnrqWga0l0Mfy5e8VBqQzdcaOXf2YBzpxKSMk2u3n+OLZFInUv35+L5iJ3LC1YahWFTBYKcU+TWvvEcYTYuAcEiYmaB+hDOm4q6f7OHkdYRAL1j6mMnuhkYmLUWg2vaviH8izf4PvAqRylxU0uvn2ey+lpaslrfnvCp1l8pGluwFqKyupauOwq7TELpkOUEnDoRtR+yuIjoLRPQR7sdk4DnJ2af94Pgcb7OLT3Ui2BSeR3QK1SkeiU+EpNwnqG7VcWjiyM7jZqJBIqlBAtVpTRPHqzS2MEKuE8nJaYFEJRWA6fwt8aRjV4BUT/j+xQRDQQ7bIM1Xlo8LGPXjiLtKH+bmvyULryPqKmsacWBK3+aSCE53YWpb7DKAxt2lGociWaQY4+4Z+yNLybIz6zSAFcF6hRU22iY1/CHt08Vt/uQgxVks4C/lmpUbQ2QeJL7enBwBwFil7PaTaudwPKHRR913w/GT8axhfkbfWRFzRANBmvy3namKp2CTFmvFVuSNGlDtGG4w6be/jJ3fJt1Op0lKa6n0mFXqydJppSkYVqtErUPq9w3nBAsgV6IhucFvgCjjfXWFtQBTCK+IF+cyYzRVlCkLd5Jcqw334s4DmY/VeQv8CZ28eH4KG66sIhIiuG7uadnYQijc5xBs4jfPk3/mtRINaobwGQBsopZDIb8+fwXKrE7BU3Sj/I9zwO7/ZJ0AslsYyUfxFRfLgUVsxiSnPz9xvAMkhYahbNMdhXYU+KO7T9Rd1hq2Wb2u9x+CPg3G/TRyOXiMo0onluJ7qQLrgldJAPWXop1e8cNbam9dTe0i3m+GpiwIw1cUFIae5srzq1ZCn2HfNRJA+pK1Gp5a48URHqumKS0B8epEZTxBRcUsPr2ybPdWuty/26ukXLRCOoMAa1FaNybc0eM9Ezgij1vuHXzCslVrwpbQM/E41JGxnjfCw6Ma53bUEmZ/IQokveVsZmNdAaZWPr3jPuAp571gYXHWIKSyaf+bzWzKjVmY3zOrJT2c64kOwp3ylIZtdAIaH7Za8sUtqVRZdanujpLJEOv5AoC52T/ohe3lZTBC91z8+8M3WTycn1XT/P8sg55cnymlZxJlBzvZ2y0WTvVZzdiy8IV53aiphf62zTOvTEWKP7CJXhGaloxqpinShjXCnvNiLr+oDsuI6jMc4xMj0ag2VQhk05QfHmvQ6kEY93uheno+rJCrzuIYMWeoXLCjT2ozrr4f5/78OUV3VYgVfiNzEihRsy2mq1qb4RVXS7NeGkafqVspUrHETHPw7VVdeDCFXvu1MWC8ZRf+62h1C1UhBg7U15HkXwvg2+HQHSUisdQZ/x/kB9eDHKlRwx4AV95stQJu87RLFNops5vO2GgRfJOL+jpyb4CnNEzrOK1oH16ayOtcRBOdr7bSaeiR49mhrtKZw5D1VhBY8VF3U+MrkE4w//kUam1Hn48BZPCglm41PmMUwzDifo6G7eTOoNvvqo56yrdmxpVSdlB1LSeAqk2ctX/VTr5hrDlXYVPpf//I9i0NYCWO/wSFI3LpJN13X48ZCmTiEQfIfzI//9j2MyWAM+qaKfUC8Y7FRffnuF+OyFLieS3Q1H2jYRfB+oTMsxrsJl82PaNCddWQgc6Tml3B93EWnjnufO9CMJ/KzaqJuR6Xzy4yEYskU155rvGdo8l6/LZKHmTI36UmCF+5fTHnLF7sqxvJRqx8yb5GxolNVg7ZiVzSeO13t4p8px86O8v2/nfcsjfGRJW750E++dth7/BwjdLEUtbQr/ne4DCZpD2WrRz3RO4SLakgct3iiiWrgZnvFU69eZn08oGOjAgUzDwvjEYiTAChnR3az9WhG3VcM1g3bbq70oucQOcptDh9i6bqM5Cptr4X1VolRYt3dpgJtPCq28qMaaQnBMlQ81R1zeaBw8ZEIwmKAabi9yTGQeM2gOxpV5rADeHTZ8wgXs0SHAstHdx/BDEBFerYWilZpOLA64HwbtlCQm7Htcq+zxTynFkvrT0YnSLkrplZT6hlomEgG3pufYvQAp9IIW+qRfRRlZ/UNGTu6roP7L8LbP0ORW2qfKkfCzAjBIRXZS+520XjQ87GHgG0VpGc7BCVNsCtNjN/4vaK53TVUGxODTZbVuUs1TBg6fxSY8jIKGeuafeC2PZCt7alfzvCtIWmFsxiPrz/hGRPo7S2pE1rObfE56nw3QVFhw4qatsZ80hAKYubWYy7tcye+JQqTN4yQ4gFUCwM2hab3Rp2P8/xxhVXaRh11/Oiqk09i/2J4OlaNQnGsOQa4ihjeX2mrO6h2ACRciQiygjGp40Emuf3Dqzv0eUwAqTiKkJzzRm5DWz/L+/0S0vzO1P6Q+mRIljJQtUi4XBSeXeDm/zJ/BVJgtF7hOmdi9bYqXdSTlzI+XNDE5wQc0EaKplBOcsmZUpjzDEdEMIMOLzG61fKVk8nSJ5HpzocsfL12LGY0tRdrsODgJSaeCcwpsYqCslL5to8yOHpvkEBqiHjPf238fNF32oKcA/xHS/bPDTTfH2VeDruJftObULoS7ZmgOlBgnYxMUJxi0Yalxf7iy4XC3V9zvnOXHLDeqftktQrI/yVlesGbmtUusU56neahdPawJ8ha+2XQOGvt/QRNwLdqEJUpNVnwfJM71QoBEv67EMWp2iUyiMQRB8h0ZblCN1nFWkyYyEPlbEk26FZHE4LTRUd/QRrFXLr0X+nlX5sFI2D4QP0amtyZOnzEW4aPoafzqacO5S96oUOa9TcAGjvwXaMecW9tWUPTNFfQ0JOF8fl0TmMFrxJLaTN6RwBcMhvzVUr9CT2JaMs783AJXW9RXQAXngD4ZAjgRaSCKrnxnqBSk1pO/0irIsEyFYf1MXpTrNUm5am/CwQqoF/C0G8dqw0T+M+rXCDzcrZxUOCsfqq5tvbV0eUgxwg7Pu7tZbHn2yVkOR4G+F32qy51h7C8e/Jqna+RyEOLaYCDPNW7Gi+1V877H5n8rOdtXlzMRkR5YR6Ho7+qZ/hpBpdOgk7clMwk9IA7N7A7AAUn0P8t862ERZb31zQSNIF+i7x6tUg/eRW+kGjSAYpfX61syHRt+zH3JwRtVvXyG41Pr/mHag44Npg+jNSUR1oXJIIgX9RbZKzOMqHJa9JBqX3295aUOdVIxJtxq/dWHZVVJkjbbokKkInO95tq1kNyveeDeBbgNMCgCT6ufPjrFud8hyfSspoXsadi5idxfQg5dPiS4aZQBwZuLS3BM0dQ8B9hHIDxmewnUzUsihECdToMiKsk9v8Hxpt5gx5uIYUJ/ATjsogwUxwSAmERCCyZ9XgIhVzx2DWC/gVY6yKmGc+AZF7zJpxVS8fkzcXfVweSF4ztefDZMXVwFUV1fqaikymO8K89zeP2LzcnE6T3PFKwlTFVyRR4jzzA20vNodvQIOSji3NCqNEKmAE5zNAIiToTzsBoVJ2I35525TCii9JUOHsPRe0CaqXH0uasakBH4+CA5TDq7LE+f2xTQxyqOByuZ2bkAId8Ij8eFxHyfo0riHbD6W3SDlQBO305ghatLhMJX8BO0I48sOG7aUWBjaIK3s2Cg7Dw4/MHmtI4qRA626S6JpLskj6yii5BhaZrMXQL5Wi7Uxlr6SEPl1oRjIpmgjPbSEBWw7yiSUSHR2/B1TbJGNotsLpzfDK/HiXT0VACdIda8KUnp7NEKAC0APuDaYj2odmBYn1twkOMDV/eoxsI371Ghh4tDJb4Q1zG1WW8Lq0DyJRE1S2iCZ0yVPxORIZ8bRtLU6NuyVFrwMqdenWGpDOMBFL37pJNizF8HA9DV/sw/L9ebscbnHO83HVJlnvSSUretQ6Yov67AkHDf33viQYOitbRlwYY64HTnXa4EkwPRAJpFD89VmnBv0ckoxjUZOojJSM6ZAHTC6rguZ2te2DOntXnsm4IytLNI4N89ue+Fyd2U/FVCbT4kZXkSEnhK4xmvaYZ5/c2gxoc0IwyUzZc9GEERJ2Ig0V6Am2t/dywb03i46BxqepYIxjkj5CSG2QIxWlF+a92tsLsxjMM4ty5duratqmnTSwXZcXkWNj5uc0pSs51oOyRDYY/TV+IWPWGn17ULiFMcB1TfyrXdeUqvOli81Igcn4e7ibCJPAzunw7RLkv0DEECEpkdgPmyJmgcR8ZQJQF1gHndbSTp9qTsWCPcUWhznXIpY33zMTqmoeoqdHp1YmZw7GwuCt3VxEEBcmfxZAp+S4XVlZCjL6YijdLa9V6PioQJNcsUg7Ct52PC54vC03+7pDV9aXt/4FRiijb0wbyOz6jYTyO9c7zBK6rGJ5MmRAZX/m2jGK+LA5/F1Z4itLjGlThwQWR1QOT+7seG7YigadhVue5W4RQ/mx++N8/ickbc0+UGEeWs8FCMfceomQBfEO9USXDScrAq/4oLWjLrX/8GmWTWfMS3+q8AVsi0VVWtWPCeRFgODdlAvVv890iAmR/TXaX2ZajfFE//ebhL1tYBh0So7e1Kc9Aw8REU0HtYQiibFY/jL9xERterCwFTaKBnZ3yr3TN+suXY5+JMBYlWQ0rNR+NCUpSJojlQAqMjKk38phA/CkJNkl84psIneqRFXodC7EdLkCrswbXnjhLzcprZlunxcBCDMAsZv/2VImOwllTQKpDYNplBLpX+LD77lPgo4Tf95PB5t1OM2MVDdVA/Lh/MvUr6/eSINAgNr/CIKC5v4XPFobvaSjU/vWA8I/zB7skaeY2JD4tf+tv/4J1dVT8RMt7RvMVhdVHmcqLpl9aPZn/gyQg6wAhGJzs6bP3vAFQ++EWc3oj8G0OQXvyoBJ90wP91/Xe1EmGFwIC4hUO/5uBc+i93aFEeSaNhVLeEQAUqdCkIiWNwSJ4KTWgyNvp6pJ+0L2erfYEai0D8CSjJKRR2+qCfFdsnESSGnt2Uxg+Tcy9MTTuU/8lAmC7UEd29LYSREQEtGFlgtVMbsnwlhiQEYJ6kxcQBSh6T3yRINOeDWwKnPouJ1WXgJsFYXGY7jsKSkhj0y8vcc1YFQ+kCrQykLn8YSrZ9Un1jGI447uBqWmoqla8O5xXFIE/mCN8Nm+mZpspZE4ncUvlxXlI0ZLvZDIBz+enEGpeyAe6HrMlCTq8CCNxbwsoZ+bX1IWyrlj7sqX+xwA0yCESp5Ie60ENSFSAzq/afzI5Yb5QzA8wUFz2iuTZ4nCgK4IHsZ/rs0nFL4Y98irLhPBkK7oTR1xb59kKqiWPXIk9HwhmT3cAIiC80AqE4v7UNtKmsiojOKHvWQ2PLIkvwHVPVahfszC349wlKg/FrjJ+ZIEOMrP1bkmX+OoDihYUrIoZUsgvBDNx2ykL4lavk8KojQoReKx9tULEgqcLynkrobTvQEu08kUvh98jq+KuTj0W8wVI7Bj6a42HdOZQf/fupFOShxAFCuCY0aQPK5AEwGdWTZqzMmJnvW1q+nnhDL9xzirt+8mUAErE5SEofhXX9xSHVxo2xTKXjFyxclnDO7P48t+DPsQcrw9C2jIUVqmEMhWRan3pafBxryKiBhagLNZxphe419csyKFTdAXz9VigRKeAZa1fmDmFVWRKX0zNqtPTRLxwF37AHvwRiO3UBMyLiIASzifosEVPGm4DEiHXVVCXVVNv9xmETqn+HE+1pb6m8Q9LKBs9GIVEXikCFy/3yIzLulxD4HbiKwjsOUB3xVSJIJOYnpvN4UH2UgkKrC8Vq6hE2zws38Wasd4gMhz2iUImNZRy3RlEcDXrqlb0N5sReWycaiK/2dtQqN44pTFkyO4gRIKNgNrH/0ZgwMng9j6YG+R+FibHqGFdeILAYBNSJS2xrnoImYxhJw0uO4A+Ed+29/A/GYA3qjGwoqBbzCqRkUg5AhgvLVkkQF2C6YarJXix85zP7nG9tAGO631C7zsSeJjx2r6Yz6onTu5wKwjXeHFtQK48hD7dxUW+pYvVQYCOJ5S/eISfCRHkKdwgEHIekXGJfobP64r/o+nXhmcI04jBmS75DP3RNIeBpaRlxR8G8CHXuRoy9KRuFOjyM20BhrLICoR2ZDBMOajxyWi7LGNWFU92P0PwG8LolCHDvbYRTj5Aj8UpYbp/JyrP1AU6atsKY8y2kaJ1u4KeEDzUnpoDNvw5Egt+4w5DMBzqIa/64FU02NlroiSIjGy5n2egF+GLUDp70JIN6YsRrsM5ovkB9ti028ZTeVA60cjZ9IoH2KA6lViZ0eIQH1OUgm521PZ7mLh1StfydN+jpPew50owDQEhUMvVQAyjLVDaFm23fqq3+nGZsoBDsoyBbyIewLzL2V7A/5+DxpySZD9FeeUR38SdXESkJEVrkpX38l5modMuednvSbTxI2OB2nIsYCZE2cRdnEnpKaOIcGK2JFPOsKz7cPN+77k4PpfHkuJYc3BI8OvwVwKTEjLla9zZzujHUpaS57M99Le4dOj6hTAz1b5U8QJfdSl5RVZq1NQdCaOFVXI0VugJy0vVj90D8Qnwvf8RhBA2f6sXOYygCVQdotIBNomtM9xymGEhKNI+mhxSpdU0oaiRlvIsdU+qfUiVEPUz0BNuC2+jq61dktWNVxgB021MOjMK2csWvSUXofCW+qGKsJpQjLczqfplQMZAE9On30+0SVgU5s3TaR2zKX8QP3Dr372cCiMvH5vACmFrQ/dgK1E43ZYzELU//8Q9sKZSFOPt8U4I7gYRwK2WnNYd9mqkE3p2WG4SPgeXUR4VCcxE8XdtFidoSl1HhmvdiAB0RvT3bQA3JLdF/s6c81Os8LYMLWgx/r+KTw3gAw7GFo+ua4E+YOrouDA27o71VUTFp3igfhP7zoQwUYRg6ctsHEheWHZsUj6yPQK/O7/R5XTQg3KXGAK3MTxyNTSRHH8kzuIHj7/dg1Jja1fx+WsKsrvoRJYBVe6O3+15EQvVlSpJp1PXIwz4/RhJyfqkpslg0/AFFA3HTjUGwM9UzgCWPFZzUGuShUPYG/+rylYCJMUc7hsorVAoEZSWvui+/WIDyAm4Z7LZC2O/Ej90qsjy1SxSWqlVXaGlUTMn3cLS46N7NJq0BHPZwBw2fo/F4oHRpP44AJvUkqxRBrmKGQWW5UBQRRTN1MWu1ws/QmS72KdiEzlnjEiLBiEmtg1AFRP0kk2xB65Gwuxs8E2lVOzE9G7gSf5Vai2/vv438f5oN8k1Xreur+s20m6fD25lwUKAduYg+yjLEoK9JsKAgWQrthJ3N9LaNEmmPPG77mXzw3BXLKwxI0YzOpSCTiQuN5dGTVR8Gc6g+koKaN97d1O/hn56K5rsIN4kG7+76o5YT1QJfhvz9HJFVZ6vpBzDvX/Bgnj6bnCQJK+bIjHUwITytOcH11Dki0IwvzHInj+oXppdupw+wk13SsDRdEHgaQ65S81HggTCP6mgVvFoMubBCPEMdYQzX9ca76yxde6GP72t4B7LDt0O9LTs14NLNgeyuvGKsoWUuXo8I5GemHis/aW9m5QhOchQ7SBeiSwzdWxdJrt37Y4fXA0SgVpwjfrCdCxnyq80kCcK/9LhGIYhwEpHbv4Pb9AWILA6X1RYEGqRUuVrQzE5MNcKEchqEtRBmbh7I0e/tZHIrERveHLtoKMvJbBeEmbxodDMser/v6AimJS6JrPM5NIeRv5Jiyk3f3NbOwjNA+fjCDKqxTXhRQRtNCO7Ug3oc4Y8+wtJku2HGfeQg5QT4Q9H6Vk6IsmabZHKkzMhPWbrJU29dVjNK+sZMmZMssc+uiNa8CnJonHOouOdQaWwc9L1FOwWI/BEI+8HPwL9TCBCFwHMeNSvJZqAFDetzC8BpHO0xOt2nbp0ZWPqEbdgE+V+vUgDUWcSlFbiY2Qk21voOAfBZVN6nwb68dbVEjV2/wWJaZkrDavjfQ1IEnVqe9RtBIttSF9kgyQ9O0P/6Ve1BEzWz3nLBPJcZHZMzsB7oijR3oFMtVu7FFYItcp14t0SbZKBJ66GPpWoeZ3OK4aC9TIhy384a1mKyH3jkLcQ8gHt0nGob0p9fG2v9Sq9pgtGxXSMnQtOR+CHNDo0bxc/kLW//Yt+qmJ5Md+b2/o9iQ7SELuF31d/iGAjhAzDU2mD/gzxZWcVBQyeWDQY25NwmZl+NNqCfy43BhgXGmJc+cJyjoDk5uW7bb4MR321VhBmTrfqV8QYy2lOW42ZG9OSztU5Q9ivePJdR+b2TYnmrxQ9Dqfwr6FEPfMt+T2Rjao+S8cpgXaUDC3BJGzZjtDFWkPICLrV5Vnue63IhM3jAVagmn0lOthRW42zJaCN6HpIvKZc8oKIsodLy2mSRfESDwHSrQvyOwMNbxhQj3IF+OR4nt9Fblvk+7y3HRbyLOAWKQ5ISon+PtuUWFKA/vBDIw29kW/z8wIvRmOITrWKbYy6QUjEO9snw3iO1Pr9vuknlF8HFa5xJfth36QTPCMbvPX3JWGMQJwV2IWx/o3Nhuf2GqdJIlGfWsraLH/4kW/NWKX9ImsRTaaweqvjxhI1JJIZxaKilRrvz3aI5M9Bshwy+wl94WlJn9UFIXlJQhoXIHL6gB3tM9iv+GLfv95zSwt5z+yS8tvEL24RQjH6kHZZR4zWkdCaqTTPkAJ5yNCgjEUy93d4MJWjFGfQBJ71GAXdumMx/cm4CzVDT+7QFiE4rbsf7V9fNFfVB/DHtgCx9BZRg6f1IyXHgyhhBSs5HN8AtZYcPooAuptW7sGnVF96tJOp5q8DdJVffZgSDDbc7LtKin4i+wo3QcU7bwBWoZV7OoFIkajMOTxY8wOKX+HGBnzBH7UBPPdgYXUzLEUrZHsly9r9hvwI7qQ9rmCo/YfWj6Dd5+gV54I1uFZxBA9Vwkq1ZBsJhD9eNLRAV6CrVvu/3OJhl1Mm0nQQMc5YUEo/g3pWtQROLk8AWtXt6XDXVfbijvUArxWpOfyepZ6DAuDT+ZKDug8yf1FlsMpKLKtqDQGQcC2LvttmYcojG0vgJEx0q9KSJpaF2zyYBet5uY4HEUuM78I28xdP8IHFGi0In3Lm3v68HbWrySPdQ4Uf4nDDv6d9e8otgWXoYPJONqutnf5TtnZPw+bzRmxmGpdeGAww3xlwJ8F/Zfsx1a9gdaZKieJfSOotlNULaIIjmc9alXI69gkd6lcUM7G8amMQJ3TqCsoL3F/jWqENXZwOIZpEl8aZVcWwzxZt5cosC7uOiXq65wto20WNh6RJp6TbWkR/oUg/qRcliOdunlSbrbCThjZ0Od20v1yy/QlG7ZZ3mr5nkHQSHuYbODW9Q92fCD29EnIWHASTbNKRlmWmCVpOLz6nFUeYypY5HfbX5lm1p1MhQG63twgRofK0aD4LAY+wmodp/k+DtoYjgBYsyoe2ylXh2ktIhYMsHSslEBGNfB5nGHPCfNzJhsSlY6w1c6IaK5rCbBhsPC7gDgaQo7c14Td3kaI6ZR2NLi3I67127s8T65VSdlwqtBEgCSPawHJcXN0jD24Ov7dMrV2ak00BTT2zjIbaa+xaqTBTpJt4wsqqmwEZzNfoQoBc5OLgn0aRBqbW2eNWpfk25fQ1Fn+LhNEjF+1RrcPMdl07kW+5Ep3nYoNteONNTJlJit4lQCNdrv3MmOZU67Xh1AFAIZxLJFLl8lhpRDbiXy35YSqGtJuG9UmntImX4OwbcFcjjfQxU6hT1uvAQig3YzDUNbZ8LiLXo9ifh9ghftuqNu+OB1yHINRUL4cIp9a6DavpoDUUuqCTl3/QKyhidHgq+9CKRRP1gD8ukzsJvkIjEml/Z30fmspKhcLlKASXfoG9zWe70+t63AzBlSx/J+v/JcQYU2kiTmxLM7+75XLuYnHAzkBkCO/mkQlryK3tlu9SgudS1P7lBrRTzpxUPqS/JdYgNIXINHeLkpmNEcPUyyTHDQlo6whA7LIfPKxz3ZPBqjKFJy2llYI+Ytm4Ssyy0sA5Lk+v5lI7WjllhwdQY8VHP5bqbB6cGHQ69T3UdlFtpBs9V+DnUQFSB2iXAZvHLafe+OfeqMdwayVztL6Tq+B2qp5uC9T9AsQ+HNBwqDUt23JWI+gLHjoRiAbHwVx1Wx+P+2dLBCVfBMnOtXpOyyOrMt+Z3droR/JE9AkUC0YJ5FbRN5ykJRToawPUU5nD1JOYh8cpsNBvJZHhe+DNycauQuQNB0ZvC9UpINSvAoWva9WpfTjJpUNRW/kIlfXPQp82JNLmhGv5qso2SpdKjHW+/FnYJPJkipW/Wf9bIRV0x2SD6iqhiVxuJQ02qufVEfH/5Crp52KuEL3lpZbJJIxlFw/WS/0EXATnhsoGSXm90r+i+zL6h8bNZ2s/c3OxPf//cfvOMq6NORsJxFeErauUBNHFQtREWg3Q4FknbGD+y5onA/RkwtBFYcXR97mUPVUb9PleEKVtOO//yIL/2iigCFdufJn+shgXcT+NZ6IkKgJ/f/7+KjjPDPH8mYzFiU1eGUFxanhZj4Ux4F+XcRr9XdiiYdQ7RpZq2VjTNohOwfi+ttCzTf7AFdbjKNbo49I5UvmxP1gZrJUd7QowUGGEp6zwoymxNuCcKcdwqBmX5C6FXvmxHs085JitHXuwha7XR/SEbE0AqhyWuMYgHV0Bxf+PtUN0FdvLPtuJ/eVGQGKMrYycSnVF+fxmrrQXI5K5QZzUGYvfbR3tB/58qYYrQa58BWqmBVAVTKC+d/2sL4qyzsoJrDw9ZdVIxDwVxpL4rP8AGfy2U1yrcyj7PatndSL78AaKssEnhyBTEReK4WdvGm6ICd7GNRHWxYdwV65jlAnBvP9E22QB5NLlEzMfhy9/ttFU1J1l8lhaIP6zhs3L4O3Cgo5CWthEbkItY+A19VD3Rjn8PaZ7AILb4rD/XwLLTr4yYtPhraRiwZR3srK4rdwwKAGZX5cZsc537NJWqTmOIktLmHZMGxQUAGPgF+zYqowVQROpXdHWSAgGvl+y1osg0qupSi0mknNInYVOg+7q1UiLz+mPFuS8hdLOvQca/WL37bvSYEVpA4IR2jEjzVC8ZO0BfHAaTPtepxZghn0pqXspQC+3pN7OPIUbJhO/eBU7+f9BZNLLWPO5yCcMQ691MCdIo3KZtyRhZDEQHr6ruXYTgu6DJGcuZpRPfnSDShSWjLXWBeIHoNa7j2JuITGUG6QpEzmuI63P4w1UNaqAZXHNiMG/RBRH4qC7O0GYk63Q7MX2OgWPWFCkvEDmCm3cmbJYCj8QcXdabgBsvG0sA9N0XwoLtumXsVSgP6LEDYSjBYfee1RoWZTion5bg/EHgehzZt3z0Cc6q/DGERgC18rmu2B9wK+4gbKvovbe3rMcAswRNvyUQqwY3qkys05EIg10Fbs+MUuZ4UB29MXcYmoVGe+XPdlmYkzP2Wk3/O3YwMAQAKlE3zLB176qTENS2BSvpg0gejPVULLF9Z/kL9WT8dsjfvOc182mlGfA0zMg6RMAC45aipVNuF5hkXVeCqPkJaQ3ifl7suq72bzxGD+Uq/+SO+VoSgUsFKvA2HNzC3/P5uO+8P4kE+e+/RU8fswd8JCNPDVWnILUGYUKtN1GjnkagSk7Js6y/adNtw4m/K0gGDzCQxEE1dOlsPi4sv6O+IoFhokVroR6AhyOImqetaEiEhfS3N0BZ/IzX4r6N8RyeYD5SaYLtWKiFquAMDSqPqrzaxbnAUuZZ2cPwq/4xHwJcv/1WUMbvBrd/Y7W6DsX6SivRbNnOl3318fZNjnm/3bIlChq3cGTy8m45Q95udhbZB0ILj9xnr3xSVg1MDH6GI7Z5y4UEsom8VX+H0l4BWn2PywRdcu1YIedh/aky/maz2OpeT1WlLdjNAfeOL9hZ3Hct7M2Sqri2e0JMS0qIpqA5CH6OJsWYpVAY5WKZ9hoHzEGR+PKTj9gZfw2BzCaP39LaXjsXjEuy2v8A2cQS2of5pQI2QTFOPCCXMi6jUaoAkw1q8PeVW/uMKN6EBxdarydHHduKdboDmkV/oju1jJBzCJOWMoLLdOLRsP5Mz7kbKiuuJzglL6nly6dFI7S8UsedVsj3JVx4MOSHz7Qjn68tmjZp9VJeWaHvnMM958OlHbVPLp5dkBiHS8yW2SbgLeVohiijFGQ5n3UGVrmfnCvrgwjPZ/NXznhSa3nWhaBjFEbhll4nMrp1WSK2MJqBH0a5eOyLZwcoGPT7Ybb0R7NU3/GavDKAb/C23BQq3rG+57PtMdw4/l9X44lYON6GC4yR4QsF2IgXupwTLVVIZEmSRd5hI7l9R6rrw33Z4sJ76+/dZEJmtUIJh2m8EOJxbj9kUc51fGz9gG0/0e8fr8yj8xififglhcQf5izPe6lBWMDes7f2Rie2ntDYj0yzXncV9aaxJz3cBP7zL+H2z8+eLNOsSJ248v10soMlqmxsA4JTObsjE2j0PchsX1tzfV8xHzaerFewHDEfFzMXlFI/sT2qfupKE3ATDA2MNocFm0jm35eQitaExZZ/OsGlwxbB/RAvTR9h3fcAlcyNVnz4JNLP4MeFcgcorHZr72ohvaNt1mIbqNnk3s1KLReJUhN4I5cDnnzAaphmcDG9sf/QU0Mslk1HxTT6M4+6hoL4INCWUe+gNspco/80iAqymyT7qwFzUAci3rDpIZnMTs3smbTb9KonTA9pTqazw1chJiTnCNrGUb++SEn/aHuFtSQiwKa0Z8btf8VVbiHK1Dk406APpCSturLZ3LLomKrD+FPuIGEmnZOs6A0yjkoRsjk/X0wMNw11cXFyi5CJhBnSjklaosBgJM17/n1njZnNDRKN3AP3qo1OYzIcZYWXsgRGJDdVg1h7GgQkhXFKzXGTzwrL6CWfhq5XMMU9I3+oNP+5fiEqeG8NIwzfxINBjTAZ0h3Hus//43CyE4AFEJV57uoNEMPYyPD5OQ3aAK6lCTCw/szlOtuB69KVJFJC5hMXBgWeQhOPJd2znU0Dwp9+FqK6WYzSVZuh8nBPGKU73Zic7G9ItTUZAJndlVmYVJ8XBTD59k8pguCDU0jx2tZ9mKtKR1PHx5ywveg4DtTscF0lwR2EXj6/f1PYrwn2qM9I6MUFAdpqXpv3OoqFbcxDojXhyOkg2Ztn9fgxV8SDCOQzqrW/PF07tT68rUBvEARb4oJgafH5s6wHbwdwXT3tUeq2HPj8bVMAbYOP7OmVlZSPJW0ZjwOR82V17pVeABX1ZOqGTGdEv9DEcCjcj872CfS55SvJf2LGLkWADqZWXjrgslnmh9SWJDX+vcL1f+zYH4PXvFnVmHWcP9r4ZmczAYBWngRyXPIPm6VHS5CIOcBvEBBkyh1gr/Eil2nzLRG1MYKsIVw3/0OBxdsAb3Igspqf5yrdM8ydummKd6STgFl7giScbQYx1wSJNCyjXKU1xYmSv9y3GadNr7/i8A9Cz/0t5WdIpwr0PKNE6qvyDp9fMm2sJNSFYQOJIWYlcaRAtxqe7qM9xAkJ6nrLCHAvTThHm0okHajCtl60+VP3FpS153XGLVgReCONpc0K5VH4AbQEE8sH0lw/3TZr2g+FhXKqww2Cs7gpzzsWCUsHmGnPqYxgpdIgzrdJKjjy3p5RgdbkksmnyPbWvZ1vS5dTvPDWd+Cim4qNLJJSA6e2qGe6MSYO2szhjUXNjJgY0kqlVT8a6ANYX3zwGPYXHjNVpk68oqgpp7KCKs7rcB4zYTSmbuZleQbpQgwdrqHjOVi4hZNERNPHJWCVqWqxUkmKjodAn5IQtc9Z6+hLKBwl/+Y/PfpfbgEatpTtXPQWeQLn+zGha0jlsWXPNoRMM4CnJeI/7Ofw/xi5Wm21tQWfjLllyRhkO0ORh8zQJVLpxSnt+r3TS3qRM+EUzEgL45ZEXbLpO5Ny8jsC2kTN7wGIEaKQCGpuESVSXr7CEVldyofD2bg08U4vhckacqWcVh06nhwvDl3NsHizJbQQAC40RPK+0aK24rXqL9Ofe+LwZNqjyM4Kz3l8BMpz5EKWXF2sk+of/18gSZ11t/9p9nXJAScZHKBDLygn2f60b7DojoMIju2UtTVtojpr4kBCZTwk+jc2k2MeS1K/M3rRuU51O7J2N9DARgjlU5gsI29yvD1oKw9WWbLmRezf45CfCWipZYUtiH/R2UqTE4iEF782I3t85mQfbv1/rG8GfbgP4azYErEy4Cl+0/kZKPkyjvbVsj4c7ZSXhG9qf5VNrAGMFjW8nBsnRtJXaABV0Iwj2Uxie3Ib7hIKi25p5BwHfApsc23cjbuCR9Ms5rR9l8WJrOpc6G13r5hslTyCe7BfzbN94FY1JqJ+zwlcPiITeo9Hk5cG/cOvsn3XyQzS+j3btvSINeEeqe5q1DoKFkyPquiNkn2etCbfC0SeQi4iG79K/oQsW7mEjXNaZ3qYjZvFayk/TD9kZQojttVBaYxnSYKfnGWYCj1YUBcgRz9JX5XeihJqeusmbJaPkO7eotFQq1Pi/yN0EnrvD7tgp2bQm6odwvF/L4RfQ6U+NZlCCfcxjCdns4iskzGbx89gGzLha1SWl1pYlMvSTKscJHFG7vquqQtsYv7iYxpL+U429LBrAAXJ0rP+F68tsTMefC/wYUWZ826wZcAxacBvTeazrxqgoh9GoAQB9/OGL7YBf3QJvt9GE1P2kls7wzUkFC9yu0c5naeSND1vyrf+1E/klPLf2ntlfyrYe6mZ4Tag+CQmdv8h9ODM5K1Ch/Mi0cK5onhfmOkQj79weKJoWY4uQ8RE0XsBOOP3Ey+hQealEJOxzfuyIJt4py6DWKnEJibLa0FTsT5Dd5dqxzaEEbSQjA0YTwKW8SzS4PoVM1u/+LO+t7JlvjJgkl+sZjMjxXQn4o2NRBNMTIhQGhGFrVNxg9val3k8fh2RrOLSJqte3ep84VS6S9YNEp5j2cU295jH89Ub7bfFgSmTMWJ1kGmh2HpDUdmqRC+hmUHb1JNt5qecChJVztDqMSnRrBtbiy0FdJ0+Du+RzRqHtW22TXu9J6RnXn94dMcwMfSwLzlfKZtbtCagltAUZ1K9/FlIjEXx8g6dwUy7EkIph7MLNp+Tp4TnQYOZuyTXU8hi5JO4xepkB1LknhanpZWAhP3DRZTR1b2FaDrO+rUKuNCRv1x6YkXq2Tr7aMINAWVy7MeMo3uzUs3FhfbDn3CIvRbuSPOu1/Wx49MYcwXhVVMhRlBvoAmqzj+lKJi4czcoCAy6fZ/viPtr85vKK9SeEYZLSXMzJ/NivEg1LE0yLFCLZW+/8d2cK7cAa1NDGNuHszgPi6OPf7c2tHGqJZ4uITHwa8ebe3S/SHmEYmN/7aVkdDOBFHRvzLYlrbfLlCcJVYY3TGqE04+reXBIYJmtnVpMOQdrFu+6NVwXkl2e2bt6ublg0tdo9hLOmF1VjAraLbcTU2fh9AMIVNl36XbjQCZdXRhMzMw9uXjGb549iLe/BX6Hr1lA7QWoakKp6eGOz98Njt+bDbdYCK30Q5ZMJY6ON9siNRx5LLH+qt/K5rv/h2dYbj+l3bg3l6ym6IY+OIZsrQ39EqPH/1HX2f2R3K/USlVb6Bf4JFJxKY9IYMO2qxdRfvnk+ZGF23xktG3PQ7kTTCHqfUOmBoh9OBc7/BA+a39cV/ZVbqkH9yGmb2sFVthfE9sdypdU98MN1Z9oAXobYjrIFiM8La7bsKdVUHk+cQQbRjuS8jQxoEwMLvD6T44JjALANo5m4PlwBp1EyRyBzFbQWyT4iNBAKU9LA1be3Py2j/xUKoby9fsk7UERVt2fI9E02n40EOVSQowqNajDD/omSoK2RRcMhKA6hOMbBJAnzN9DIouErQE12/e0VY9FGX3qrl1059dt1mtsJEvnYSJkUwksMMEeFjmX4WZkMblk0rfUIj3SHv9LMhyeXm4lslKZkS/wnp6RA0/kZEdyCxBOjgdrDoOlyr3jzVtR9EprfSXIyDLg5AsQmVNOS9nOXLdr6L/qzDVUkkNnepd0HXM+b644VfsnOLeAyg9tDADJHTbLFfjhKehEatrYlTZwESoDJd8erFtL+gQchNOXX+DnZFhV2vnQYd53iEQJ3xyD66z+oKgQQp5fyy8XdskOcAxd0mjQZMYJxq0OuIFxAzHbZ7JlXB5BcLsWkx6aVMBP5VffsOvHOatDNID6ud3FlB+nJkU8jcN3FbRRsgve5BVRHn+EvnWUEK4d2OTFu1XSTkp5Rvyk8HsoKrQw+ftpiuJrld4SzcBOTUP6scJQx0Up0i44wM49B2l7PaYD6SWvncX4/v0b+HRK6siPYUZvl9/vP/pafLj0KcOlOMLr5RDBG5jPItW+h73qERf1Wz2C/eL5DstD8O3mfRSiqo8b4ihwh0GAi8qKW10C1QJzluOI038iC7mxzjwOI4BvnVafn+EShYs46uTDapXmkChca7/aNqsWgq0ZbX5jLn07RuleFNUfaTpSLWUFtVhAvzd4zCbiQ3QbuPBdIsRepOkFxPGXLuW3V2FIhI0fJAWKhGfVrkvlooJSQq0+Pw1WfiEqd+tJIUIBo+rv4PirATtisAeLDIhxx9hwIiRD+5Y9kwmd2VYQ1qQNGBJOnu0PxhK44jQTbl4+WgkXDYW1zUQBp8Mh+iHQ7WttQg29CbGJ+P7yEsW7Uj9ctUNW/GlozJ/SbytY8Ztit/RpB5HCf8HBupu6UFtpMlQozuT2wA/SfHQEGK9tFI4BC7cDMoUp7VylqAflRyRlscZ6BK2GjJw1Y5tTkhGpw98UUh2oSVcOEFQvdr8V1vwdAW+ySxW18u0mBZpwfPKUqvnbNLWrhUf9hlI2kGl/3m6gzMsIIlSrVKFOvlGb9bNbNf0cc80omYRJBkxcssI6WcS3MPOEPcMwqttL03b4lhc5Mi7XhH9d1G3WQgadz10Z5QIHXRUSjjU+2gwghPGUO64KguMMyNLddn5ZAUW1CWIJP7EtIn/nxA0USitezLnSInam/f8U1RAoMkQNrxWNdxqAFaurH9l256Q3s+/ua5eR7DjfcB4xaUJUp4Wubt5hYneCLr+nX03svBSz6BaeUk0mVvydI7Chratdl9IoJ0yAhbYmoQmx7fiDIYJ80x1u5br1VDxUTNQr88k2bw0zJ7oOEqG8KFrV4BReZOI38eaxr9L/hinycbaYtEQhB9kQNsMtrBHpP5TFeTqnN65BtQY1AL65DcWYkYVr9LdWgBjUfATiWCg5iPHIPW3gSj+Liamte7yAmLsJvvqm1xcNxHyu7JAawPJrJ17p76q/5tvGRPS4zBzKlfTeMzL75gWtt740SPF3gfU59veQgwZ+BprDEkAb6Zal0BVBmGqt/O6XPUmoj4m/7RGT1w8/eVP8YxtmjBIUvaVIlb6ycRzYK3R4wnahkTMtdX13Klvp7OTjYdSOM6fFb1C7SBd1vfG+KaREFaIktEzTe1tSP0/9GkDrv30DIWOtQFLCPmulCqOfh5rZkiQk+i0c74xqXXGaKvXKb7Z1w0miBlxxb34kixjniOF4pvORB9FBSHyzfud28SeazXKS3CP5ifp8Jo5N94nyqSEWNLDM5I5oUGNlt0LSsQuOUOhc16+/FUqnDYki1o498lAswbqTDHX+3d8GGhrlGFv+EsJqSH1Iu+fxi2xbnJ9My/7N4aNuv2qrb936CZKHw6JdC2m0SmnhqQlXbndjxmzjOMF8wsUM2Cjp0xCl4Osr1cCkeKKmaqcFZlcoWO/nyd6BEhD4xKi6gY0I74Iwooj+wos1MryD71lQGBuaoPxVGhPb1l4JHaY8tmBFNQMr5pNPyQ7Crz60wR5KU1w8MePz6+0WBkdPWa/G9yr47emfHpT+IQrJPs7TFjOuL+WZNx/drXrk3QXdfKiYQrFnWyeHnocgYWGctsHb6sfhhlCfP/6KhsYu151XM4dYuGUOMH3bCdYjeqwE8zcBREDMkKlgW6zFS0vsQ/GkTHMxIQtd0CubhvmkS9y2J1+3bONYfFVC0B6mfkafwr7S402pCOP+025trS5KrPlrrJTzL8zE2QoByfi6YfzlKOqVNXF1dagdT4H8R4Be39HLgoYtvpHjkscvbJazajYD2+zTxojnH1baJLKnmoP4An9vjTpy61YcyMa5ZOJiQdv92M9cCbMRv1u3j5NO5kzfmJfsLbGlXaZMejfsmlBXnk5coJs13MavVy0D8A2gi/anafjszOa4PiVECZxtbelL/E5KW3QijkmVXN3SL8AOv35OrYdKX6Fs7WMa1dc2mFoOBJPM6nvMsh4o98i309G95Cxwr82F08CaVm/o2aLZQN0pxNlBZpgwWDyLZsxzmjBtZaICNXy+E/lpaRuXqYW7ff4/NcR4Qv+osFzaHXgLE1e9IW9E7gDNQvfi39wgUFNn/PBaw8rtA9OXvDtaM68PcLi1xpmWNx70fEuhhnO8AZg+WsF44xB62WdBU1PgZ2z/BeI5EPBu0Om2OmY/4D+58tbdEdjg2zQwZLaAKX4qdRY8J9nFRB4k2DUdRaoyYj1UwJqawcgTMbs4kCVK+YPR//8pUWbQF9Q6HGGvokCEkfqRLtLP7cvBXCFhbvxBlPV+CVrnAQS9hM6Db57835UwSycq8BZGbqoi9NoSETJzgtiOqVekbPKrVK0Mv060Fh0Hkcxyh92Hdiq0Ai3uOghEtdyLGNC4BaMJYdCbHu1HLzvPcJO5ddR/KxogEqjVfh/KddFdCwMi5HnusXjCYC2FvGV0jWcM5JQT84/zG/Sa60b8BmZ9xgBbZ8vW69d9W2dbl+4XvhMdiyqoGSdqA2IPhBnMWzUSJq1idxbz61/KiY+akYGJpnij91DQXZBPe0TI7uBzfFtBobjVqmyib/373HpAGow+hwUNAuaz6gdD+rOsIDoE/OD5Tj3fhClDcEnNawLD35v0ACz/JP5VHtNJMNr4B3UWnt2E+Vsdbqw98Vd6raDL4l3Lgwbu90yppZAQEuU5ZUSU4/2DJOOH4DVCXraVlqu23s14JEXyuKGDssby7dMj2d3+Hizr4V6QxXYLfJYZ9ImEQx3mYjJMY+zBK1SsmSZllYzVYqS7cGzejV20hcKKDn/QhQMEdvA0bM3t4xtWBO74U47/ed6PDgy9frNyMtlRiz9UdRIgLIOW8Y/uk2+llwjy9JcsQy7/z2qWYS7V34gjFWiuFxu8tee5z8+JRbeyZf5t3jzPWjUIBwEFcP1IYDmyLI4rjM3LLcAQEo12x+80dlInjOt9vBT9d8C6KLwEU5meie1cM+n/zRHxMzhGpgK7B9s6fg4okhE60mvHfog6cV4wQJKS8YBzgizfCy8HM+vOgVgGNCqdE9v9HeKXBrqIwlIdcwmPsH0AGJsIxbVoh1DG7pI1lfFQG8wL3K/CBrkddayPhm0teb4rl1zl+BkPr2Bus1GYk7fuBMVKTazd1KqZJ0fRHXU9EAIXmZ9paBjtSkvfgpGYjWSHab7O9jM/JmhQ7AjLwPNQa4WVQW7w7bhTs3LVwyu8NvxXp3rvERKztLOt4m5OqLy5U8Zs2NjRDT8fpEBcataDVsyxJ8PLurwxMVPfr63jLTEJmh2OSz2sItLwIRHdReyoUHpskKVl3FkY+JQRiscJQcExChNpOKCeK8745jmFdfvStNDDHerKmBCwjXsy7fB+tMy8F6feu6Y00ohFF6qP1z11PmYuUf57+esgRMv9gwypoRwiPZoYMaDfQBYHJ2NP6zrBFpbdcyKOfXkMswFTYHKyBeXvAUP1HU/hJfaHnb5Jsir4/QkQdQdQgMC3OZ1+zAsAl4ixaMQBcL3ayABpgbE+UYIh3f3ZY/5FbMLDkS6jTMtzdJnzJh5JCBdPqnD5otFN6AejlNIBSiVVEE1PvRKUQjoJtqi+V0pI0GJX8B2tKEcbXnW2nxN5wQjcvdqNF8+xOHIrxmNT4pYeqGnPeUTlrSNYn7O4V5VuiREXCa6U3Gty+ILmJrQLrGK2INmwIxOAmcKJjZ1KKKy7bHN75VLzAdWBoTxhyUOR5mMp5Ot18VKxytO0zMMbb7tT0DjNVPbxdjcXTkQdxv9YJVH26MKrRltt7wxtvWIe0NjugPKx6Sz2j8MCusd0gG3jVmSsxuf+JdrLTlnrtOANrULUvrHYGNvGDyvTo97DYw0KHGCYxGX1GmHFVncrw+NZ5CoR9wzLRKOltmyrtPPOJ7I9wJ9eAyc3Ewg2DgY5MXR1ehq+R8J8k7hwMvU/mhOS+IanWPU5Y/nn4mXfbr5IXCX2rNozpd5HTVtUjv8yXI09OEM8at/IhDzif6e0ShXSO8FxhPp7PnEPFi3pJo8Ai1QJUwgrkKhaX7Q1G1LR4g8fJPgQ7oFdfwBCLkYfslp/YvVSIJgl9/MUnNN34nWv4T50U/7ffQH5Fm/cdnPkLvd+Uc2ao1XNjjQuem1v/poQTu3cEOsBu/Tt6nrfQ9ny+iTkK23mBAWr/9p3VIE195FvqwXbhC6hjw7B3AtNje44W5ZiyPAnzFfRU4l2ssTSyaoDomXyC79fNGSK/rlJvveZkNCpB9Jm+QYwKcnpMic+NZC22OyelS9zFh8B+yEj+KcHdQaKmLCG3ByIkhYpJqNhjlPWsE/6TUTL46ddqA6sJatoAPMpkBM3oHokW7FDfUDXmbWgJeuvUPdYYeBGqkKoBZgUPMlBPmGaf1g7z7B6IKBhrFvTObzNKHToQyUaJrVtxCXdAAlqfe3fr2volCMva2yUJF0UVgbPsHRPL/0nF+ZbkdYON/7pbhuneLp3TprAw6/kDtNLYTS6Z/D21ozCd31aH+Y4K/bIu9zpTRfUuXHtJ3Ys75NRJo/11MAMBzN3XMbsTpX4HwpT6vdTt4JPwtRsUZ/hTUCIwotCdytByvHmNjP1ncO9PEGNeC66sj1O6hvIHZF4kUcrpqhUh3fp1dQDo55iUjJx+FJUMVgoYF8C3L4qmUN8JJCNnTrOpbM4GstrUR9Sys7/8/b0RAgfgATzKFsWYeHx4xMf5LN1tN25G+iHrEvZNhNAFgzPYIC6hiGnTsZtijbZCMEwfUU6IjNcfcpTdNh+UHgyS0qXzukjvfkgp7ALnYvIhv0jkC28cv5SGbh8nBbmXhMwE2u8KU2+U3U37BGuKn28LYHi8RKnu7p5fxeP5n+kLyTJepB/bmHtp2z7MKsBUV+LRDVfy0Nnzdku/ehTPLk+GfERtkgIktXx0qx9VQierzI5A3WggFaRcUAxCJLQ8T/RipBtokYYlx5dfRW8dnC9vOgSwhlw8i24ATwUK/D4MtyelQTDN09dilcs57P/DbtWIgtnjahnXSHjVZ0OnYzQioJVh1zRedaRZy7OAP+exC6uX4U3Y+SEJ2vD+3JxdF1Hu8hkvWUNT4qOqJPpJIhAtfj8s6gibt5jqeje0sKQGYRRjlQguFVbCj4FYLAPCKqKyQNHRC9ZhFJAnPMsHHesJ/YpHn4kMjGPg2Q0dMu+TeFIma3jgqgwtCjIrO1GytmgivkNQQ7NvB4NAI0ykQtmyKmw3qlu134TxXkGxEUuEQWQBIyxFWXBkdoyPLStbcEkCjZ6NSkzbjL81oxg7jOPdsaauCjQsIPd2Uiqu/wBIFlydU12cWwJ6ApN2HQOH45N6fIXIA8jFqiMFQy+2sf2JDD1w3Rzw0GmsZYhRH0P2iVr+Ile3WXoJq7G26tcDkLPpuCgjxfh3YwHIX0jyOGKIFi00Su/haNvnVwTssMcURtGfx1tI+HLx/jgnjHwc26Cw8lH1/r18uKZG+oIPz53Qbj/KXEoArDTc1GYyyGQipcMGMbAcqWFNsFe46AnSd8jtjuwDFsV+azpzt3aY2tYM6B8eX25D1/BNMG9EjG0UDGNVCdRt4IvHQmkH1ZuLvFyGt4NP7SI0rtTHquLznfoBFo5CwtcPkZnvzTA673OMgzmhiavnL20h4gc4d9SCofrEy0axlIJbszIMNOmO5dFeQYJkG1N7je7jqqQi91OzBJqMPk3wVmCzV6pwxVJUAZQ5UFK+sLUnI17AsXzhKFbeCkBfumVALo+Kdieqy+4q7HhTsWx/5gTUBA3mxEKmxPjSE5vrrc6cIHI7asi0Lf8v9aW5ET1ht7BKRoWPjvmN07sWVOXjOOFePMVWjg54xQDRQoKq6qhhPzsGzaxbECjVPz3E89zXDO4IFwtS6P8nrCD34I4QKemW1RyXpZPZFD+6NNMW9mXWCWpxg5FRB/opQzgQ9KKg0vQ5y3DhjTPzRMPGDxu5DUW0HNJxKG6ubnD6vEK5rAfONzZfYP/LCj07Orq/9p0UnPXY3IAqxoOjhSpMsJuDAwlX5QrEdF6jlTUVhm8G6DTNX41HTSJSBQGi/LQOfQkxNoTrzQpVBnuilOVWuyHXIb7IHOD/tm+4oBkabCCoc0tZDPKZsZ59cYrDns4CzsT2Yqag5NtntV6MohciF9FHTP4MjcjWkwrC/IhXKIh0Pn5mwHD7XNvDq484aDVhIxIAGnsc6tJxn2oCtPO0COYTKxn+/T1XtF8bCi3NBe7/ibRng6LYYq5FToa0ajhMvfQG2XeautCOLIgxRLk4VFp35F3u5eWVfT+azVdIfVVK/vinUxrPB2qlPLh6p/hUdZw8I8CVE6QYhubbc5rjdnKlnGVo4IK2SbSz4oepANFac/8/VA0SapiqhfLtLTMGMY9V2D5sC0FlCvGrhAfxnXyYcLyt2Td3nyUYDxPhWL8OfWbXtQ8XhLZx4J6CjY9Qfi5rQKNaAFMwcH60xMkVmdsMeHIJSwt2aaTFDVZoA4EEArqRypEsLTjmeevquq1UZmJbeXYqM20R0H8aP0dB9iiqhkEq/H/kJl//cMhUgPFnR1HoU8Dg+yfRcz8pYBD8fSijqh8hVDKMRZaAxSvAD9bS4DZy/iu5Aq4dnAhP8wqoNP8vkUxDRJS1wVtVAGF8La7NyDbc4ssc3d3d6yh9Bxk/swhRYuERseEBS5sIs5z1fktZZ6bXSoW6B3wPP1+09htMw6i6E1qA6Ddo4JijouoF+TemdA9k8b/6E0f8ZQouw7KqBCcTslp2gdV09sZILAG0DkpxsXOS80MOP020RO4n5th8JwsNhOHFEohCI5yPySQpvl8R8Ck1PCu0f/hPlsRpNtDH1VSWdoDwGSV0HPe6rTIheNnxbtvIeriD8v+3hlXUxrT6wguCgw855Ip4LZn0LuMXDgJfwBuYTOjbWjtFMiupelV9j9dXhc9Nh93U2/jAgvORGohIq/pCDPbfAcu3X1aQ74x6Eh0b8Sx1z8P1Nl1L0I7hiC0UfMLZmQdnLUJ3iXT6U1cg8Y5tjuyLZCCZA5xLsP2ZmQvcQMTmekX9GXU29u8AARDe0RK3xgnI3/JA+wnAwcHKc3OwD2W8xntwjq0NXRHxU/isRCXFeiN2sjnKXkA3QwyuVrmxVFek6nyAULpwiIguepZQsQzrl2MBw0iXcaScKYYfIHb23Z1MEXBTHpnxwA0LTlcfe7A14LOweXDseI1leOZblCe6aBWbMyF56YW1lziwwcuYbgpTZNBokLOYrTrth7fj27QbvWy709b6aPh8vsxxST9RehXGmlHc1BKPoWeeEB/7d2isgUyxZVGMkJi/35GDPQqY8JVBpN6NYc4Na85pZhpmRQ9KLg4gnTFCoxVf+20QbwW7wuI0z6jRNwaHB2e0FNJRUZ9KRsRijjQPiC1MUyS3NDZCMBJ0BQTG3R2dIrDmBNDYWKyEM+5kSejQS4QSoi4T6Y8DQ68rf1kqDg9LdzxApKzh3DWuQd5IgIDER4F49SiOW1gX+IXEokjBc9DNwV/7puvw57P/O65joOZHV8meZWoy9nCz6H4ODUS/L9EV6HjlJAAteCYFZa2s/k0SRzmuVMZRmIeS+Iw+P4y7IytRTiYwUVzn6md7np67uaSlR+/2iMZTmQkWWaP+5WaMRAGJvtMe32L8ZLJxW/1SLcd/kMO//df/QsaolnsTqcL1IM8s4Q1VRnZEpdi8b3JjMd3aq4Nku+b1RsP/01JStxX6+HdnHPhXMR6rJDZbCvXkp++8oAXbTmv+9b92ui026RqQLG+jdN5gwDPcKYRoEmnymLsid22CZV8RP7NNkuhKu8F9oGj13XXyxJlxAfFqOO8/+mvmA6lMvPR3crE65WLx7R65Zm1Rp+dYUWk7D0WvC+ooq1exm8KVC4+qCEytbS8s/pP+HzY8q37TeHnDLkU1S9peUODncB+hcy2dUyJdmnISknME872/+YBvDkDkpdBOrbql+dYBeRphNeQ9fKRI9LvySrQge050vKPX5/FAb4lp/8r1xiHUyKlJ0FOxwdt4vA3YubmT9MYRAG1lGsPkEhKO6ful2JVUFgp5SyZ4jBKTQsvHM3iVQirwCpoh8prsJUHp5/4+bboIw7VTxCJ7dKGIGwZ/jJ0TC6YKaWjcOOPVjQ33RXNgUkwdMULxpS5o41CX/13Ciguht/PJ6VxCU1hwEMkLIJaplltM4Evt2cGBed2AKwM/5ioAQbVPVkSznsVL6fU7ajGS2lqbPZwi2Sa93YPrCIIuVX+p+a/KRKSnJhhfdMWZYJmVSzny5wrVw3Wd+QrJK0f6/i9AgD7UW43qd+5wUQivyNSoES0a+hedd294GyzzP5LxbriCyyGMCxWVUvIkmDGtqzNVx8v9cGlQSDXMxKJpkqqMfKUNHF8ctn288c25TIV39uwaKn0C2C7iIGv06qbrOqZds2HohNYSwh7AqHHlUJG+rU5f9ppDzYukeiswWvs5hYD8sMVWJwcFwJuwJJbQa5QtnW3NBFAAMuw9rrOZOC318nqSL5qeeqAtsb0ikw6AudsnfjEykrencAvKndRutOtoYIeQkH1zyuI/DVe3SaHMTD9lTsYmTRIeOXtPHcgEYkurBWMcDb14SXT2vz4ctRgyBQ6z0xzKy1EXW+dTXlkOG8tQOBy1MTb9rZDu8veqG4apwB95my9hPTdF5+fv65jBIJ8Lru13V4jR+POU0TRxyQiZEzaBLHHNg5cn33IRPbFlFnrDKME3I8iJLDNu1oarhDIyNgwWGVb2xiAdBObMH2opTWLOr/Y5KMgMiYxim2FdgmlQCUKGeRUqHtFWDO45w5KeV4YfixDu8yN/9uGyTomTkQwF6+v1Vb3Hn5QKCsOeW3VPUivagCFk7PleaajteiZRkZhEjpqqjgz3pp+aZaKZemZQGx+aYl4Q1QIKqqW4rMFZh6QMbsUn4oexHdSv/GOE1e37hSORCZBiamUUcRVFlETaTydb+iT2RMGrAyi3Lp8ohzcMqvveYrhxHgYVRfn8ceZsn53aAxxa4LYgKY+quvBuL9wZfpm8pmnEN1i5PAN42dXORnO0AlOFUNCr3mpzL9b7SSfmtBhWgENriUqFVUJLsPpaS7hwW8wiWt/eZoXtct0p0tnqBV0imWh8aUFwfAkcfpmSXbA+MgH2a1w0Nob77tFewFWKB03ZiL/JpQ/D1/4gfZ9m4g1UER9uCnMHHGJxk30YWRg5d3lL7tIJmU6VTg0d1VNRIeaCklRoTeKOnjNs0AoCMbkW84K3nSEGMRHaI4ZDg8kpeCyHdQeSHgmyaANmmegtm/iSHb6C844whfM3RDzr98reJP2Re9nRHm2nU9fsK9BvcHJBSUojeSk+Tk65adkif9JFU2VcPPkdiZkp+ia6u03kAB0Ial7AN4oEHqwV+hgNgonnREzjiOh0rhzk+pNViPQEBPNDs7BNHhOxG3kmRNyL3Dwd09twmv5tGSJ1C7dz/LOhB8D2KtBnV7tgy/qCZmH93Br+0v0Pb8eIssSJWNMxTyP+V6ugjy3Y0VfkAX+dQTaqsFjYfqdx5pikTC+zl5cEuauz+cIhtjYyTpf77gDivCreQlUGje+Fg6FMZD+ASmzCsUUYH4qKjeW+4hRqxaQXkWGFUVLL8LQLgkxhRVZVl0eyrO/ajK5zN2+kDJyG+RBAEJEO3rYVu1j1We7CSSvcN9QPY8iTRvcUj13MdMkttA5l4HkM084sImRPRaxuE+Fv+2k4MDhcmEiAQMbjazj6ppVW9n+NIQ66/9Iw6ApqGaljaYalpek40lnOtwdByB43IljPIFRT5P9uj0/tZVmiRFpNlmwhqgm8A1kk7efc8AKSkjoV91FXvvjBmJj0snwLEDIe3DSQHf2kw6GrfiZVvuIZQTU4KIQAR3tTiOgRM5/03WhzXZf8MD1QYNea+o4mP4tfleYyTng1Tew8tkSI6uoT26s5vYjMLRJvn4etpBwK7HHtT7bOzcIL5JgnzB/NT342MRXkKzRKzlGLKj3y9/SbNZSSpHU2Zp3uug9ucTLO/HMlxnBLkJI4a8ngx32uTgdNjQpJFTizsPKKOmP29LDTZ0XG33rDvtoG9F2g3UKtAXpitNyfQvRmbWX2ppUVorlUTGEkkW/imEtYwom3uAgE21SpzjEpyQ2YmJqv/0ZwaotCCJ5uM/43XSWMOOABV6A5/E4DS8T1G1tfbnQ9Ec0YY1B/JBhnjGN1TL3b5qAKVOs1OSAcE9JsTqkPUTKxirhKf3yw0XqA0gAa9dttvavyuc78qT2riGzpiViT24hY2y26/GjFlrJn2JpueIZ1h2A7x9DLkDhH8hLVnnU08qlVUFGlrhJvSHG9tZoMyLzCTwX3ZSodvwPGgLYXTDmqUuc9hxtjw0o6tYgRf5CZ5pZY6Fdv5rMBMWOh4Zs540EqNEqwGX9608HROvwFB8FaAVGrIjYVDCko5wF0q+UWtEesiwqku6fS32B5bcMBtfL3nyOdd/xDkSHtWeOy4UhxgT8oaSBb8wgRRFSFElJMuy7YAPB1mW+h7H9shbjpZ93bZ0TAMKchLZHYk4hyaoNSP3+CPJDSsdBhh5uhY6KLuzgcSe3UpfiPewKvP1gtMek8x1K7oxo0GQMGrTPKzwXi61xSbWHnyE9JLhty3ITGW0dvOVWBc0e1WQWhaLE6iSekHA4/7lByCsMLFmqH3APW8HsGNxUGPc5SQSSDNBCqvej45A5XPClo6fmbE5j/AAB0IrUuZTReukvHDnrOizbWe4OQ3M/6nSHU0oWmf18QB5Jkm8rF71flrbDeXR1x7PwmZR1BQlinATHTGqytYJaukxndHK1U8cwhKjcjLl9QPLDwPRm6BEb+OFEhHFgacV+O7wlqcW+2g+NzSzD+sQfm6u8PbjHLA85opbleVVt5mZflEM2y9uggJo2ijgJl6YoVHVr7zEZsQMbUREdscw/N7NItffkfrWeNCAFuvjpupZjhq0hP8PozRSyDg3ngcNCobmyQE9LJBdu3HGlLkI4yRoL6X5NomPAI8IMaEo60UVoe8tYX0xRPBJBCqJBC1tqIaDnxHZScp6SA1jlOzfB6QmWLns1HEhf7sStcjlWsnDt4c+C6gavTjvNylK98Gf/Alql+XStZ4E/d+WNDCV262zXAz/x4jKdD9J6l+b1S2/VoDWRRzww/iLVqOaPtkPN+lD6EcPV3tqG1CE0iYL3EWbKOp42w14qMmu6Dc1dLtEwkztDKvls1xgVdkhzQvjN2wadF0jv4qGoMPIKXhHwqflfSrgTSyMQ82mwwhiESnNL+XKinqw1pEJFV9WvZ4W5STflUS0jK2oPuuF/QON/OLXO2uPUmKZ4PhAmC3ilM0X8t3WXUSBcHNdKK4hdrYxPmpmSjXsTjk6E9kpeYDUt2ybw2mQpiFZ2shk2GzMiYhyexe1A63VWgJoF7NjsXbsExE2djoSom8Oy+BV7J62r8rCuaRaXgDe7xq5kjLh25AFvYveRxyE2fpRPATomkk1DO5HE9M7mM/DNnJQW/MVwC1C9bMZIfXBOcADRrZt/ZGUyr+ElSuFLq9OMeDfNnVg6VzBa+KXHhHo6lfe2zj/voFqPk+u8puvWave9Huj2UxCkvyRfDNt7WYEsNoc2xFogN3D+svLY+8n7bIjYBEDe+uhy6vVOeXWMXutYLIo71EBc02WmBuYFggQXZ1RWrH2EQ56SycL/sDjZcXBgklfwUN5Lcle05M+uLK6XM2auvt/jvURs2jP3ZKb7jXT0lUU6snISrDh+Ssk1l4LAz/7Uo3Dq5eQWtT5HgFiBVZiQC07yyR9j1h4luvMxf3MPMOu3qJy/k3X/nHLNPu9Emtn6Dn/Jkla9wkc+LsgaP9BQ7runC5sOE32besKcTL5RnTRcVNY2XtEmVcJCwbniEjrQObC6D0nSm/SXiFVsHoFu+GaYzCK5XTGahHb5SGHwo" title="Mekko Graphics Chart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830" y="1818178"/>
            <a:ext cx="3810000" cy="465882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752600" y="6477000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Century Gothic" panose="020B0502020202020204" pitchFamily="34" charset="0"/>
              </a:rPr>
              <a:t>Source: Company information</a:t>
            </a:r>
            <a:endParaRPr lang="en-US" sz="8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76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phabet Segment Revenue Tren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he base business accounts for nearly all of the revenue and is growing at 16% per year. </a:t>
            </a:r>
            <a:endParaRPr lang="en-US" dirty="0"/>
          </a:p>
        </p:txBody>
      </p:sp>
      <p:pic>
        <p:nvPicPr>
          <p:cNvPr id="5" name="Pictur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xRdLyPBQmwFteRcmjXfmIFbm3W0VzdChVJMhV3mHDqFd3n02aUFWT5uGt0RFu/sjMTyHLU5gIbGEfHz2D6/7SsDoDD9FDda9aiA4RUyXnpHj/EyYKhb+okIoB5TS/1b1l5RlmCRu648ZCnyXetp0kj4nbTcJTFn/c9pgBMfUjvoaUnCmxhtyug2KbnaohzxxiHEB/u+x+g62EimbKgL74wwUo4BgSdn20AGP/SRqm6UihkWvUgocBU8fizpDTXNs0FBNUZj3gScyTv1jtq1fFjXw1n4oZafoWD8IFMIk9tP9mPKkq7SxSejzuV9X/BVJBm7j948wKzyavAWftAURG26gTb/SG0Vpw0DhZFsQu7jeVEdrk9UDn9yTcCnnkfZCbVYdrW4hbs7/lnNGxsdrU4k3SYw/r7H40luH6O970Cbdh/LX8Q7dqxqR+dRHuDtTcZh6oCxpcT2XJmohZ1GS3Aetwmx7eOozxE+sYQHA8+nbmHauD095hvEaaW4ylfrgGdP1BibRugNF2Q/NdSOKnR+R+zcOeBuEq4SLvYu6Zy27eVIR2ZTTq4tkwJNJJEbJk71zgYEhE3/TarJWJFQywDz8h3Z47+Y7ihCJ0RtG2Gtp6WgIL4BoQ13EAT4NYPcmtvDkaD9NUg30NwIeMCGZJ9ttZrkcgrWA0wTVb2Rct28WSXqvPzWyh18U5E7qqRyT/p38fjDNzlevsxrXk+X1pigSLSPu8Ab8P2j2dlqKjIsgryr2wnT0IfwWuiMF/V5cIydKPbVLxHG7G4eyKg2YocD5cf+1jaBHF7/VBZKbZEI/uS2swl2TsLM0e2o9Xgkm5/0yBpLn6imzjwf3ASWG7RE6fJHXBe4ra/vtwUdxbrL3DELcgVMEM4wM5b8Tzz99oS80H5pJJHgqJY57ZCAcg5cazYbRsTAbdu6JWZllFnAvIT5EX7JATmrCgUDnyMPtQk9S6+lhHMUTFBPNYYtajfX1YyfD7EEYDZkmODrbN/4Mbb7198n6toV1tgBVFMlcgSBWHMAxHQW5XSNfponshrZZAs2SjkE3Ow0kGQfbssBWUPk9sO/Kxgp7p5EqMoIgrvwhQpuhtG1RUH6mDiKP/XyJ0OAIS3soLsyEZSMKcQc1PCYdsGEyPYyD7UCD96+XjGeN5tFGpmHkaDIVqMfHsKKciWQcQfsrEm7fZGbcO5MX+qM2UkTJjaLM8up30yXl5s5t8Fd6y+S4+Fge+rHr6Sl3szUdywNTL2xYLhLe2sowSIaLxG8Ds5wVfA6l6zutq3iOsADkTUFluJePVntnE/XTsKRg2BWhmZd28/oKO9Bzlo5h+5cYpxQzqXzLLV2I2bUAL+zAi7nGQs9QBfkaFd6BRmJ7wsLCOu6jnQfLI7NROAQbGQ5H3tPkIO5p4RzeQkgts9an7JFd85ZHCLWP0tmJUNLK5lT/kV+P8qwOT1+dPcN37L2IPVwek1qf1slAyp+GhmF4S0kzBxZF6TWafprYjeN4x8gqxDcVur6Z4uqiGjn97P2J4Crj7aQ2+UvGqG1wQW7IHZXUSt5qSeeatxwQ7IkPCxZ4sCiiNo7i7eUgA9IbfpQ7q78ygyaoS7635TO6WeztgaDoxOk+/rQhE0FzZkq+fGxIvya8gNwf//RTIyDfpDjY2FV9AsPU0vjMEYYkZhqU08G+PurIyZsVmtOLhY9RAwUyMACX95QFv4BwSZ6yHsTW5mlb6WcIB15B5fk/nqsLRiPt72hR0LLBRcFQlUWEpv7pqkIQv4WWoQ1im8jayS8vbFfOOmtAZZ1HY9Aij+nMl/00LkFFDMeKqDiq1t1vD6aT8iwIF5wxdp/eAFe1I2piZvz5eyQqjI1CoRN694TYBPbrt4jFWCLdBXuYvevloITmXZUgTb39lvp74LFg2JbzHPeCipsJNak6Y5To365zatsELi+uEZdmVmWVvf6BUlfQOY6elpTekEFZ7dvG4k5h+ZAJDVRckdzCQCapoDy5vuNZEfWqtDw+BdmUihmv1mbfNoSblUGpNMX5w+/RazRkFvSQed3UpZVLE89mI1ThiWNSBYgBJF2bRbh3rOpwjYacPrOI++qm3xWIg2sjYgqbP/SVop6OYcpVXWVsGp5+PB9aC8pvZ/BppycaTqX1Ha/rRHv+kxCYXMGw3UlEqc1M+xO5bS+/16LSp0kUkCiuWFOeCw9MNiSfc5eJ0B5OgywKr9xvbzxvA/pRj59t8T5M2esl5ROKOHL3rHKBqg7B1sLwxdmBMiw9XgWTjU4nf+t17E29j3UEMmSzqxM1j0i56qUyozpyF6r7aj3y9Ynl7zo52vLgGYTw3vCcJqvsdXeB/IGNaS2/KhDYjAzL1Y8GwXe6ga+g+P9JT88/GtupwG52VrlRhmf+lCyz7KUoe1/L9gyFozgyc9MnDRali6gsNFnE81JMYFtR5njDyJ1kwETjGOF0Nw2OICDGn+KNm2y2c4fmL1yo/OmjFeHyK+5WBSbeVvyV3dsgNoMVLLCiF6x8PKvxPrmGpJk707838Vr2rETbj8R0Av5YNwIxhSVV94jp2iMFuRs+Y1CHvQtlU8fyvWn/WmZ+EJ6ZLXWTdrD/tfVjxCCTo5tg3USu0WHqfZBip9KMatPxsnJX4jAOwJ3nUlFHxR9m347FTPdYQU4EFm2YEPr/DLyqjeLTOrQLXhnOsI9rD4z4qzzE1Go4d8iecqDqY/wm2g7qqRe+6b6JKH/hefxyfmmtYTMjvDjXF9He0eDaGnZVGWry1KO0JdzoFOgY8hrKCjuWauqQ/yDS5Aoscv1P114gcqUYfkVv6RYCBNJz04YanYDXBz4umDbllSr0K60YnXo1MgpwVIJq3EJVo0OEhu8U4qHDUywHnjUrUqNXDxrgwHG98G4rvlY3++5Jkzlt3r/Yy6te+UMinzuZJbSyxNghotX3wRrBKIvGpO8XziDBAVhoVe5NjNikitCqURcTKbCpcLmYtprEAnvD6ezyleZvBZI+LzhBYUxI6GwA5c5n6onYy42+SnKb9wjXd/Gh2JJ7l7GvaGnMOsgwPBqJ8MRZ3ImfEghddTgiifCPMjPx858ni/U2pDbop9oci9/HhLvprLVtH1/zulBGYNYQUo1JY4scJejSAhK+XfzP6pkox2aL5X539aSVtT0iH+BhibD5AYU05iOrpnX1JbC8eeCHzPYUtph9Y7DfENoS0PI6RAw7YSZfvpFY/vhQZK/+/KjVv2yYnNZaEm0RZMZ5GuEdthg6egmwnia/dos25vRgGmJmKt1IT7jXNbloltC5ZzGoZz0V4StAmV/wH0++o4DkBzhWYNKJMcNpJ7wh9s+aw6jpta8gPosCDZ6uwnnEW74stkty3T4Zb4xmIPuymeTPLUPClyFwPCGXY0I5dV1VymVG++hQk7M3ZWR0qXoXRgYWmdDLcrBAPiPZFLDJboiu6DUPkn9no0tprr9UFTVuLYU3aTNcpBHBXL2REyNNYWsvsXDLZR6z+ATkWvZ+UxxBtpAp9a/RlgJksnxHxn0ykh8cVxz5ok7cOXEYWT1Cx7mFt8QrL/w4RCXCZMy3BFcn6wdzxIk68o6A0jGpKlbzTUBg7XEIjPZ9OMnKKmgrhQ1Ewfc0uXvpozGOryDYjLIp+GfOEgSLD2NCt6+RiTmUaYO4yKEw1xEnhvq74qxqYL7rSA9BtXUVYwn0FZla6jtX9+H0rSaeAnVKjdDRmtJnPLnWtARbC1ifk3qNX6K1DifROgTH5BSpA8R+dHiJuZdc3XRYfFYS7Lzr7zABjmXU+oKSByCroSUIOLnN4dyQGzqclkCLteGhGcrDwHAV6aL3YPb6Hw3TbUS8m/LpK9zbC/oU4yY2Ubz8o40uk3lh4+wW9QrTj3CeOs/ineRMEmTGyZgrLU6nWx6ckWLpjzS1qGbWq3ye5qS+qIanGVhsfK0G9Bywt8Ugae4bPCaSUxY5N/lGtCcNphsmPgnGOXnBR401HulB1rFlB82JupGRnljaeosQ+y4ki/6QqPxbkrnQFRopD2PTMT0A8XInTTtGAPBE7dKrfJ6AHukU5YHHsn9woYwqj3uDh1VMl5ZxVaWREF1phW46Ar80P8f5p2vd0G91YYId72Ga7MaFHFAVAr+8EIxiOqB4+ChCnSk5MwpkzB8yr156AXAab+8cftEwKmr70rSX+wAuIytAzwmL0+yH5n7zhh5aYKndwwMwRVjUiBf5nGTcTU9fQ4hRYraj8CD9Eij9wffiCHQWNKvHgA4xU0gt8nWWtJQsYlB1dL3oajit8akhefF8VX7xEQobp5bAdlHPk9PSDoqyodQwSkqZhDIlMM0bbJO/BvRRJvJCxJbxlZ+/Qtk7wDYc8igCy59Fn22pHM2SRmrPFrjR+6Ll9cRm7w1bfRJXDwdJmN+8xquVi5M+/CgSUQdHXxbvbzADD9+x1aSikuUaHLXJbvPMhfZGNmCHPoQRZvt9xndNhbW+wTHQiFsmcSCFRhIw3I1XJVUHnzBp4eLqw5UGRnJHlsiMtMD+kqfIQlVf+dEUStUVyPqBQIontSpZot4LSPHCh3u24gKPfIZvDPaGnSLgTV7M2VuPuEKQH03Di6C15jsKwoJwpuQaH06tCp83X3/TSkG/dNSTz4dnoBmM/ctw9z5IVRAh1iOJUePVuCr3+M41bcPDVBf0G2Yq+NQz3T1cwMfwrbAohLVgLIwpFEg3dmI63YrE3iT962hi+FYCetNs6PgrCsaqNdj9t3lnU//MLhPXvpiTlR+wZ1I1USu5m4K8OO15768IAbGMgDc9uZfcfHqy5W8JwLSFDewz2Rfmv6I33i6YKBKsIGECLucouGBlAt2U7pCBJLEYRA4Q1iOxtRkAxxweSW+rjyr7+bjwYtlxIOtrEFNM86YwAvTyHtyKTY8Z6+MX8vZhUDiEIuhViGdqURXHZcRGqeJ4KVwzhO0WJ/xoaZp20JDF/ZF49LqRpVtwLTd428rtm3mv+YAfX6k3p0mC82Klt4815wHC85cZojB59jL61l86wuHPDu15bQZTJAPCzt/x+bZ2pQdE9PwfdtsM8Ix/oCZ0I87Wgt1k5R0rl6UnmYEYQ8onDm1uDl3A/DXlNXQBV7olWbEfLmtmXbJowOOIOXN9zN+EmN1v66iyqxN0Rziyq0q8v7xsFzaZ6HQJrBMOw5vsdKUOGOzgmuyvJRME82/tl09XPq+NHsM+AZyWgR2F7AbTcMO0npb4W0Si3+c00mtnUPOtiP3+efUKr4OyAhfwP2bmRPV611OsIBCh1Q2A50UHsl4bUmjVwG0uwqwKIbdqp9BQjwwoY7UwO7faWhrbMxmIfmML9C7gYMlk+RMZyT3FFTyALBgaJ8GiEo5H0RL3FUS9j0QYdbj3KypTE6wuo0EIPpf+U0iSXFLf0BC/3eYmWXmotI7L6tVisEjHWDyd4f+9IyGJ19fc4Hvh58SwCNzDWPHX4opefp1/L5KuV58M+B57jlDCQWPA08PnF/MAgiSXjT+wrtb3ASXd3QWvtrWxT3GTHEathM0Q+Ruh3wE2PtvWtDX/aXhdMSdnIMSa83ADvUMfeagRtRTPUGEaM4r2yovC3bQGzOk3+oRH7YDvV/jSsBHsGh4JNtMjbygpkSACRbIpJ5E2X/Uu+lrw6G5fsMfbaD/TbOADy0Jx6vNBSO0AUHksXbAVaH/WHX3/0K67OOwT3I97w6cw9d0EtQgm60Iju+NEdbO12uXqY7jCgFC4896yanvAv3x9HYu1IZhd5fXkmHT9ydoNNisLrKB/7gMxxjyh4DsQvsBk45pwdG+ZqQlH7+Lmgb7fiqhxzkwElZJSc/CRQmk3UXOoP7IesCICp5XR5SSQcI4nE8jHJeePhDPeIvPaipFaCd6Q0sbfcS+gZdpXNTYGNWM3+hKIoNFmC/NRtynhH9o16kwT5LlyQpl1eWRDnBJfvAeLwID9PBvpr7qafFGCkAVuprAqbiS87+Uy6QYE4h7d/roWVi3/E3Ek0EEoHt0K9Vfy8IQSiYKKrjSFNFVdyVpWJBUwmuGbN2esmXJE4jN27A7XQ4qy0etz/Qwbgyc/GIWj3V0FgmN18AihUa5VAYRxdm7a9qNPdREbSYSlpF2X8n9YZuVmj9csiFeSJgCnu5CjCLS8SSvlv81LbliSKDrgW5ltUglEUYjEcJzsSJ7jNXyq8i4Tu+zdUpJ5e1+Pgvl+b5p6YC8Nca3wqOdrZ1zwsqd6GDhhGElhcxhW5Br7ws49d+hWS29DSAQK7jxyF87v52o7h2g8creRmXjQZqIb0deyVt/httVVPjQonjT1cCZsr1/zu2PNKVQZ6vhpVeGO/1qeSj5BS0Hc7B/yMndG4jSC/5TbJWXI29+Dp0YvuRqbYd7Dlv+UYfo0vEoJKq4lgkjr3wV4crYlvdW4/ETfM39BUkN4JFSLA+hzobQhm7XviRVCi6ls7+UhHQsiblX+mlGK4LbRZUQwJrgQ9jZs2x7etmh0wbrGAzQK2qS5zeLCIf7p1fW1bXRVkdFaeYjZigWB9AAuMjcaIa1wrHSTgyX63ok3MLStG2uwrh9vLEm7CzPTPBKm2IfCXDcUPi2WMpDV84j6SMwQzfBvo64xHU6bjb7TXphroLXy3WvxSph4NsYP8pTr52az+ZbYI6N3kauX5mWjS3i/wfA1pE/g4j3LHz+4G8SjtZn4ZRskFsTVFsOT2jD0tYDPdhe/l09ZXK3vcc9Nv6HeDL/Anh3F86wAc1ToPRC9yYdJzefuOtPi/NogEuvA1YSiMMtxBkEeTne1nXt7RODKdA6msfZjGl0fpwei8/jpNpVeATROqtYKM3Ik1qrny00ZcK7TMEjRlMIpA+eaOfP+jlhCKvG14JBbOis7fG3oRY345AdPEXC0LouBNhiXfK/jrFVDDWTCAogBKvcVgUBNFf0LBe+a+yLEWBTEElULMElD7I0y6/8mU8SsGlQr+w672J2znBVWnRdyf04ohVUXxpjX/K+QupJW1sSafJFfqcHJfIINo0KEIP3OUr8vU97gcPz+a316hivs5VsQFw8ejI99GvmVR/9sqSRV9MCTQ/PxHJC9mPXbrRz3bJm7xRes6t7mbo7r94tvYg87QZefHubz5H1yTw7t9edxvq3T2WtXDSnopSBXldePGbrniUTJ7HXSkF6CoYnLr6o2sObDW1ilD9yS3gaNSPNUd8SlsKSnskAHk7XdY5ruTGkpnjsS1+sQu/s9FWOiCC+65QHt0RVvlro8s/g2ZXPuIJ4gjSo4rYaQeCEx+DZc4nK9+I5+ijzdrxzmJX0B8IZgJR++KQIpvhRTvzBCX4izUpKp2qDJDt61FVOm4rLfOLXwgUhx2gqZCmBa4IDsRopOxj4aMcf/nB7IWtjQEH1gZ3sUBiOpLpg/HzWdz7TuC/Kxwp+WYVpjoFfmdHQUx5IWgyNDAj/cIjfZPar8eyrTEYtSynKDMsEXar4ZaOu9pT01cMzPrdABdWM1P/obH3PRk91SHM+dHG+JXy6u81aEPpfo79gifdJDWjUF8QjgzT/BMeXDl5MeMuZSTiEAYsE1gsqz3xlssHVg7wZI5sbaXNJiSmgpYX+Wv/813w3l7ts7t8fRXa3NKGzFHcQkACpjIDpVqX+HoJUXV3LseDPTcHRDKYrqW3SfFGWw2BTD+8QftSeXX3t26NPZqKchoOTiYLwEk9OuEbXk/XWFJ5BRwbuGGkr+vsxQ25OFPTdhQt/OxLXqG4zRATI41teJCMOJKaS6Fn2qmnZMA5WT7/l9KR+ogUJoo1EEj5cfDFUBlECuEiYuVvUjDVs9Yz5jmdvyO4TL0/8Rk3jw5GHmdUhTfCe7TLFrYU1WUAWcv/lbFX+oxwsIrpROLoNgn9y0ooITpiO0GZctXpxIwmwNutUW/3CWvfp/6S2NMn/oRRehRm8wggot8wI9g5+hH3i+YDXo7KtxQp1Q1LncKl/rvgKjskFZrCsnqZ9soxwlV2zEjWl6OtBJJ+MMwnmvXAbMmWtkxERJxDPujQ9MRCLivZWAqVuSXgEOzol9J3UzBsjjJ88BGgIwD/8O/masdfwqM+Ea1mbAIUXwP3RhN0wZrZFsgk6Cxjlk0pqJgs5eq1/2ZN7YIVN+Sw75vjL2vH+vjI2iXUzmoy5Bmo7wJ1+GcjjPO3L2SvuZ/A499BNXNKD3x+Q3wqkSpmApMEz2diQ/I8NXsXJHJDLOdZdqjn8bNWEtHJhvApYn1o3pLHoW57PGjWIGmTUWtxNrX09iO0wuZ9rBOJv9Sod7u2h2AowdaSuAixq8V/ni1Je5NA2VZ0B7XU1HxpeYgZu6ChLuMEr4YZuNfCextPW1rfY+/Yens6rOt/clbm/eAtS8soUQkIbn8zJ1kCtjZlXbcmwAbt02eGWhGcdvIfvicktg4Z6erZH12Evi+O+WAg78ACtpft9hwYNw+RgUer8uRQegmEgV7ZyNjhAZh5PkDJGQAPdlKFld5IKZ+woLTMb3An6wV2NMWG5gza1T+O/IIL/gw88KM3HSya+IP9W3gE7NxaahSdFxAeFl4E06p04QvmhnW3qT34+adVoH1Rhzh0/qN2JT7aRQ+YOlflwC4EN/XNIkc7I9GlTnEnQoDR1Jf8PpLlQWJ/9ZVCzd7PhCF3cR/yRklm3F1BBcQiwnIjW3pIdaiH2CPjntopg89ENtqakMkeFZus53nKrDzjEV2Q9JGJzkjL9IW4Ote28XwrEBRP8+jOU+EqrK6Y/xQlnCs0vkc1EPFcsgKhzdZCuZwvnuprbRZUZWpzEy/MVq+feacfp5lioRzxAeQcTQk9SYC7IIWIfQLWyjm8176JRWZiRZzuy8MSi85qP9O5nGzB91TNDh929USoipCuUykqAuz/yJTBLUb6nqtkDCtg4rinYtkVseNK0rxJOwnGd2iM9aI1osDav3QgJwP+i5U7qblVygyELsLHcNPgK5I8TckYcGiFGFvS3pqpu5DU+AqEpZab8ix9wBxKZqKkSgeJEtL38bfn7ENyNwPlypGh0oz4N6rgv30xWaCHnSeEZsrI3gNc6xtdGvxDrSWwQjA9ZkhhXYSMAY0IW+BokFM6cNsvQq5ApPKpNQQ6m/BEu6nkvISapcBbdQKRSiFsZvh1gGShBhAfdgiISpgoKV7zB5czCWv8lV/mgztgOzj4TMfNCsyl1P7AzdI+TcKmnYN0pcaGOvYao24Hp1IxMm5DI/5ESzU7Ujn3CTW3RTyMncfDozhVD/M9rwDzHTLCP4/8eU8oYWBUw4FZQQZuLhUgN5ZyCa0QoywZAB+tH4awRSA4+wjhOPQJfA96JxtscfDcGk6XT83WFm3An/PCYpEBNJfaEmVSZzFYcfFPIO3GN08uXeyiBqVh39Td3MAY6p6U0JA6HAlmqN3wo/ig9JezGhvVkpURWAAn0+2v80ncOpPNm+JSQz2zKBhHQVXEBrRa27SXFLldBAxFMc2bkTcWjFF9peQSNmtrpXZGe8Tt73I/8zkCoFhmahgQcXz/G+4uIyggbHky1akgPeSmRa5vSi4NKz4OPzg2Mju/1g193dcOFQH9hv4E1KMXSRQ/GWMuTmtAN3J9kYRjH6eqhRDqng0PiQI5Sl95K/RaMWa6w05TNnUXgZQa8zLNGZgER7R72TRqxBH/amz1mRvNvZ46qJ2fKnNPy8Jp15PrG9ApC1CkAAn356eDWPM2liNExLq3dzuYbmZOXXymwQ5qBy3POymYoUySTUYxUtQl8kdPPO3VrBGetNwYDs/jgGB5/PslCHTeIFFlKldSbY4fazBihj4G7LdvRc6RHMuN+DtRYhKmGlKcQW6Jp5FVxV5+pd4n+IUrweBBWvGxIWR7kW8CC67nPnpL2oM8veBOPTQSiuZzvAWIIB7+vKKMC0WRrzKwjwqBAa08SbbVddFraQfLkYXPlStF+CduXUbNFnypv3wyM0iIPBjx3z/K0U/ZNLs2dHIDydxUEVoS+AbwG3x6PhKA+m+T29CRdim8ko/rsP6GNYi/E9AHCPTVAFy3NY2vLdkzNrix/7UNO9fzQdnwGHFPUMr3D2pRKT7BJ/BbbgzSkTMFXnZyuHVUaISYbS1ABXISzlcqvkNranD4+j4njp/8YNFXxD4lT99GGqxryvo8vzZOsEy8qc3TKO36KZTKYPaI/KXYU1EhkIK0hzN/i2+OfH0yK3sSgkZUJLsarEbbUTbskj9oKDIelW+rdD9foj1WE03XjqOcQjbJefWRvYD7GGb6Wc7kREg/Zx1pch/bnLfDeYd6onGEjKsgzrlN/88Bn7JBxxofE7TNuw9MNqiIiqygWOyVYQ9mrqRsZySqDpNHjAZJiBVWGtGPIeFsR53o9039TXx1z6XtvuoM6DC5nFQ9Cmvr7j7RZ6MBXiuxBL7Lptd93ZtoNAHfreClaw119e0JiomsgWAPQ9hfmft/GoU40cl7htIwtebDxsMnK5JdXIqEtMILeJxZWlPFbOgawpPdNmTqAyo+VSE4ce8+qG7LOmDEJ4YopxRp2sHtNFGNuzOuEL2j6F4pzqS9u4XXuFdZeRZNIqWj+g6KU8xGbp7MF3y2bbb4k6CQ93kzgSrivgAdbAj7ENHWytZVM6a4oZsniSgk7O9kzdyMNTo0TixHvJhoP/aSRvOQr4LvBWflEJwKysKyBD/5CgRepAGe+qkIY/iqGr2+Yv1d2arSNe8XN56QdEBZ/M0NBGxtjVi+Vd4wv+OFAIYel1/cGwJkYqoSbY25Y3zGI/6qwcN3jIVxWoAr3HeIQf5uYsaiGFgOgs5WNYhtGNd5gq1me3OxTyHON4PYhdR1CLwrFx9TVfFhPquarY8763muUZgM5kEcHlhg/OZ2f1EIAOBr4S++Hbc6uOxy7hkCwyrxZBR18V/4opiFE/1oMXm0NciTXNcs1+Xe7FYGyADyShVpnAFiZytXv5hEACsiHgUBRCk+75vMCVdpLKtClYlsN3dd4RUnpu/LEoXHb30AchQx/2oSC/22/xrA2gDoo1SOEcYhrPyltBMOQMOgWI+ZN2/bLOi3hB2e8W03WTv1PyJgjapnwi9Z7S2E37KsAVD1U8bKXEQz+I3T1q70r0xLTfJjS4nrBzdlmPis/p8RsJIwbJv9+mpQAbZou3DON9uHMi3Kj+/rsPeLK4vr0s9c37jsaiQE0pjxBkz/8wBUKmXDmKlJnOoGE0upLoZHTX0u7E0vPgBW8a5DI9byqJPqrHyAnmcsO2sCW2oqht6ObBsuUStEQ0yWgoWtcgSEt+DqwP17tLYXIaGZWJ/4ep1i2MDVxBF+Np3zeXPmO3UM4bduDsJthHIP9L0ZUPBj+6oYYsAWQda+b0swiVT2Gkqkv7IlTF49k6pxzRT+/gvN8TO0zPzJadkm+h2MaEjDPdEj+APUFY6S6YT4KjZSch5GDruoxVGSqxp3f2BLQg9xFNwoRrmPABSMPX3n/aJ7twlblU0lDK4rhTP0ni1W6onmrhG4Y0QmQHCIwNo7bUw00AidGwP133C3bhhpqdWGjLjk1tdvpRWuJYl+LIY/FD63yJb+hseqmZn6hv+eO969g3BktJ6crKbhm3d7hQmglIb8MrFz39FufkBcshS3u+0oI+Et8XyD2m/0vTrtg0sCkEp10jqtwe/wpolcX32bm4CfTSOVwG71scgFSNiNR78H+wm32zRLyP53gUh7EMZEwls+GjalfMVssdo1xw6q92ZntYOadgLMuUyJk7XDuETHJMDr4LAaCpbmmBCZ8PR8YPQH4PY64zl51jaXtviIzJuv06lOHiMGVTZbxoCeVtp9IikuQPehoKrawkgaY1qlpbSWvr+8BMvO6bRdLBF1jog+BeiQEh2sI8462ntrV5kxb5K2KX+QCLgHbN7ywzy5sFW3NC4IUT3CIJXx/p7uo/eY8t23M/5RjAaDRpiU0uuArPnN5KsDoVqLHDVDKiCl/1TO0zDS/Zcjb7M+XHPGwzchVmFz5gqqkXT0XBUVeBNA1kxt1F/gjDgcPnIwUhP2kRhIMNVs5KU1JT1NQuDwWO2W6EDUQK7da4PRHZobyFvvB9WvVwyTYvFf1+AuOTbGaYPGsjF3xHSt4rx7+X7EAw9eTJCLoOrhzugvfHGCLWtibFacA3G894oU4erLNTzl7CWsqRCoAM8J7sIL/NbEJZ6UlIjmUYx2dqEEiBMGm9vUwqTocv40ULLO3t/e95z0yFbu07oGN/kYo/C3B91JaIdBn/wWi3Ht3eH4hfSMbQyHE7/xa4tvrv2AjrMMfZMRZ/PYNJx1ME3dNLrfV66J6SFCuaZdsn9iIZg+yCvZrNbdpDkq77zb/E8b8n4ONteZJYmiQiOPrUlt9pZSKBl8ffU3uwiXM3CAvu+4vkwVk9AyVW14Mpzk2D39hZkl+IpG3PXowDhJdK7D1SEMxj2DzfqFdz4NbyqGCRZqfjTGvYF0AuwPz7eMnnQk2pmpDvS97JzYGo3TYZ6DZEGknyTnzVE02hc6orx5FYC0c0RRZOMKhHanICGTc34j/BEYJVt7Aeg76+9mj/pIyzhuq5lePRE8J00034n96vFpC9a8+mCcXkwQdnVVgEYI6zZZIIGbJVYg1uZtxA8e/yOQR5paWaI/lCjDQYgFB4l8ckQ3fppNeu7wgy7QQeDQeUESmjE8bcbJdchxCM2IfcEP1Kl8QVqJEwZ+Sn54umUVtYH1vUcQfOOW50f6EesKYlj0an3mI7OtyF7RsZP/CGVVJSmRCBRA9QZ999h7uW7FHw1RixlRTBhO8VNiMTZjB+rHhpK3ycTmrocoapCF/FBvJ4ozxBTYkbGByN+oJshUjfxo68g4zEQZbTj/1pwYz7fFn5dtb0Sz1ig2jPn/vPw5QSLBnaupkvl96FbwssGk8/Go0A+oChDCJn2ubEsyKDVKULqELbe3f+4tyf4LylM6pHQL3axqya8+1MUB0X00N0FXtyO2UNfJ0ynX9PKfGx8+pvLt9P9Wq1Uu2TlfmmNveggGB033tuKgAbI6wfmuEm8J7+duHEns80QUh4CNgektIbnRxcIvTlXQDJDbyBRr+67e9TLnjM9SFh7sjGDtEK2KFQex8USvu7Nzy2DXCz2oydQhNgS4OesEQ8hk/+5ZHDXp0erUld4VBmU90rw78N0s14QNmzu3/JyqCMAzvTjyPzdjuhKVVwItVQak3vdhdqYJrHjyTI3QQrBC4iqOYVR5geNRE7Q1Gju6cj7BjIe/ninxfQ7lZIijSh/bWBcy7aCiLf4nq2kF7OzrYgqzpQ9GM7/9ZbAUZivudW+/oLJPYrdPoESf/tpMjB6+toXFO7qlFsxUgQMGPKEy/QEdLD65ABOPte0uLKn5RnoLQu7/4LPlkVD3m2NHAAbiq863JDgaOJbo+TlCFG+1P+lRpUWO3TBdXSzaIgbwQ8xUlKz1T72lkeWT+4h40vLUcKAHa5o0F4V/225V/O0SE7zG/lSbGNXbiSsAqFUArz76ETJlog7Fbsw9LUSqpVNGN9zOvy18E5lA6Vw8ZK6qPFGiGShWpyaepnN3Ekbsy5i5txFpba6YJuB3r9olJlCx6N0wnw0BcU/1h25g5JYOND5o3jD4Pix9glyWIiHMw3YU0rEgUixr2uRTKE+QD7pU5Xove3aql1C6OmEPwtYb0yrxiTn1F9qmWs5M/d7NGEuVo7E82a3ZZqtXJAMAYZHMtFyonkyH/7OpoFyXpCXu/5Ud2fCLcx0Lm8wsw6dxIH13gL4qlVhkmqq5VEZZUR7FOX7nH2cOSSEgZY5NO0BfvXb8AMuuuuMHQIwPtwz78eiXc+ysls8NoW4QefUnQtTvrCIzhu7rJ0U+8mqAi5LXxxvOoqYp6wfXh+0DQIjSxglhdAikUtcBb440Ll8iOYbhNwivIUfOfp/WXtnswotZPCrrBWc6QVoXc4kZonJRmdgZrpNXtFsBIRATx5KzgSy50E0c+Iy6o8tSM87nK8kB+iILoOhyGrbClYi2CGBU9SNky2htK9WdxtoPKr04rlpqYKwd7EvVCwMROUIdCaHiwU6fQmvhxDK5q7UxzXR+2NZLo2c6l7xe2ArGaL8ULLSLutz56PgUxCXvw6zsuZJQqxHIOn6PRExILTvqkKcL55NhKUgDQpHuV7U0xVz0u671wV9z5E0qb0mTzt5VV6gCbq4I3rrLoyOuAqumX5Yt/S/n2C0AYrAFBo2y9O40Cg2xKIrxmItX/6XEgDxlVfUeQjHCF7agU3UjlMHLfOmfMpvigpM4zt+ValAnE2Hjrx4GFR2/L3VkuPxOxfbdAO3Tte8YwJL5VRxb14mRrVVDKtj0NAD4QxxkMmVEVwD2zLRVphx31jtSr0hZsiUtXmOuWSBznkfXgaR5T3KqlgSMydZj9vHFhMdFLA44MzKOUkernSiIjYV/Bm3iAqgHv2+KPncAEly/zL6RlvZrij0ruJzBm8L2bC667UXgeLAKTs+e9f5vqHGMgoJowCP1OtH9ubpy3ua/Rn+1DCF2WWzUe55YORldej9mdzjDghEjB/KHkUqLDXqEIaor3+CQcFpwBui1lrkXktNn9qD6kwS2999jST7hB9/0Bm6OrgUDqCwHMBEVt+RGmLx1FLsp9TQg38izTlvaSHmmWsAda9ucQ3/t6OhVJw3vDh0ySzi7LwBFDGGzENyXpNsHGQAj3vfH2YRmKJvIDJblTgn1O0J98pBL5OJ4eoo4yFXDJZXO2kKttHKUVoMtXD1LJU7A1IZhYa6Nvoz/B21BdiwLAZ23DqG7LE8sFRTd7m5r948KqeasxIo6UsaoZvVdLajwiH0hqdy4qC5NXfGPdya/M18Xvj2HhWcT048KIkRIuARBTBgtnLzBIT4KNJL9BDp8NoRxExf+AMlG0VKVROOL5oxQNKrdSKbxi/Acj+eOfTjxSY/E1JTFm5HfuJ96VzbtOAiq4fDzJwrJAAtcEVFQv1e0bE+L8z8GmOUPsum8BFqmHp3HmGOa5Yqlz8kqp3BULRio3B9ca2yZDYKCpfLFw+73ZjBIMrYRSC4SToGvF/yNxA8aZ8OrjEjbP0pbnEWOMgyAQFVH73Y2EhXVw7QunIB1vB3QzNgcCr/cWuwNG4w2b+buqfcZSsK0yYVF7iLNMt+rSgfeThEEy5OSV3Kv7oh+5i0jeX1UbkqPjk/lb4jmQoxSnPQR99z0P7eWkwFugwRdBEWkEf6nqOcdg0SNPDL1Cqmmsm8/AGtIwGPb/ORdaFvKehjM+Tkw5zC/tTz0Oh97h6HeMeCE4NiIW2k5HHtueBVxrXAxFQSFiDzu1+soiBAAJc9Gq4OGlT1ek1Ew8AXd52XG2/f2+OgwFrGR32lgwb8ihnmuwkjgvNPzdkxY7TQku9RIirHCkg7wHBJ+Qq5twbXhfX7wFrcsDB7wEgqU3hbElm9qalbKhjvXLuScuIWp+lVX/FlnVzI5fk42dIQQTM+ta/H7XV4y1qmnydygRe3DiWFaRqn2bS7Ahkb94fCAcOOqov5qrSB5UDy28/mqFgW9etob2XAlBR+kHjts5pPGkHqAD4qGNCH6qvBhm4g5+FYOKC3aoZjwB8Fk+t/1XqUbCxb1dh3glOn0B6HyjCvM/Ez6WxqWoyUOMjXwKofz91aC+KtrfUBS3sEwXMwzLYKRet4kXuMvlKt22XF/7ZDLfTl2MXzWlFl2zKpNxWdWnecSH/zDLq96Y9ot6H6/lC1j9ZrYQNnSPrRA02YxK/2IFIIf0J/Vpj6dB9QmKXzmEHGt9YZnEmiRtI3zUS15SlYDKTiv13OCLvyn2YWE0BlDKZ8IaDzZOFrV5mCVy7W4NEOQhlFThYWO0N77YUDp4QJXYTk49tXnUwVB5a+dQDpKSDy0ArP0d029RzkEq+yAfRZf8YNkJ68rTAe3aK7/9tkRhe3OZKV5VTpFnt2psKfhHztMF3U456LCX8AVKLewF0ANn5MxBThymic4u4eEptnNULeacU95sEKwi8t1r5m2AoBeFwc9f4xGw1Xu3V3QsbfOaWD4J5Nhmt268g7PiSTdqOqMzQlfY0GQ+nuJXUxqS37o5cGjX0TJiPiseIdWPzfl14kD33A4mhfrei8cTSKaaWL6W6fDRDdoeb1vTxHuzpoBMrm959c2MSW6JZR4/Jxo46SuYjE4cS4HRYHh2iXYp1mMLvcYWTj8vcWUa7a8To8FS7oWI6bYFBvA1rFMkdDbkARn++cF4GJVVKc0W0hHdhoj0usMaG0AvNo4wYq+N+xNZ6KYTMhopn5oCLI3wLtSVA1VwuV4sib7HWsgiCvkXOFNAyZR72Lz1HwE9+rDqyOWPR1yWoAijfTjOAPnp/xPUfXO86TTSRA0olIYD+pFUhh4pSG2os//M0KQtDuAqxy9vFZSartL6xCRBLhONn639U9VPFr/RrAr9fQhWxQG9mLCd0L8xIRtSfU+BrosLtD+HR+K54u0eWEBkfbyWjj0ooT731royKACsVJiobI4SsYFybySjNyquFjC3QMWcKLb5RiRuXKXl7osgtDFd7lEsCFrGkHYfS5gABeF3jvb8KdJSkyktS+nNEhov46YjU+8BGLKq+nQetTl9Xf3dpMii6egR5ToERgnyGkQd1PFDOviEoSG/VQWYGXOITMuoMeIu4t4HlBBQwImlPZYUAr3ftptky6+rMV5wlRhMc9jPv1KoQGk/MKYxpkHTJej62mvSIVsl2hGSiLENu4Dw3Mza9WaKyWzsAKOCZ1lSkflYxVC6NKgK/FY3zBM0Lb2Yg2YCjTMBUC9nPm5FddBA7nd3VRx+nB2J8TW4kBUU/SBWQp7DJalHiJz5ajKttwo1p2PRE12x/izhuH5ZJmArx4cZ/PtUpVviVl73wje05s1AmyZDdm3VhtMYNwiARWOdRLcaHqu78HEwLiujZgHeZOTTMzDJopAHMD7D+2B/+3i2MXCpPsERsLSL1N8Q8Eddl4KbbCKECZcKxMpf0dFR1HbHyZGrmT+X1E62NzeECPqdL3SwuB84RbtLYxKA1UwiD/m+7bAaIIzJKgldSgBLDUhCuUZ06TnepCgkbakxrJCPWqFyWd5X2Tz/T0Eyxg4uh5lhwlG3dywSzAmCLr8a7JLfbHvTioZmKUra88ZMvzJJz0fDOmRw87Gi9pgsxeJrfez7bOeezt7zAe4zGLsPW4GnvAFEyxINFOO0BCYtPPTVbyYUPJkXEGPGQIUZdyz3DAp6jz/Ys0k7uRQWPEa+Z9VjDkXpRutPDZjXgcF4FHAxA5khOkjfBeskD2KCV9/PjzDVqZTou+2yiGYlowMBZxue2t6TDG5qgqO29s4FP6sO1RJ11JhXzLmW2nae+b7CY0kkMOmbkaFnxNzXI2sX1jUnJL4FnIgwMHrozq6vLj+YCiHAYYqpUYYlDneJXs6VckRUK3GEb4YHWQssQndX57FWaOsJ3zPagu9TY0VHfOHG7NJB6NAcuEcjL7eCVddmpA+8n4iXydAhDxudeP0UBmIRJF1uMkCq+MExThHPPA+ZsYNUdyvVSh8jsWJ/efjdLX8su8cjH1mmwAWCJ+1hJwZlca7X3lo/m2JBgYGN2mULFxetMflOo/jidUyDt6v/vIp9vTejyOcWbwzHwipWFv4xOo/cVXyHKD+8hvt61fPyXAAQaBeIzUejkmXr2P8HOoOZP+snL3OZwHq2qX4HsqBE9nQtZXTro8VnqrvdpS7orN625AdQNHaH+3sfjq+eB2fbqs31HhnRnUUpGICcd4oyLkWAewDbbtXAgnMNjOgrCL4ct47J2LGM9/O1sln7KxqImLjpcjKzzd99OK02tBeCuAu60lGYOAdDk/XLbiA1xuX0CoZF4LTzzv6IoxMRgxRRzqwTaOFsFGZxotosECsdv1fYdACveXaGNzvrpvtCOTBlD9+qAIXmeCSdztBpqPCVaXlA2vj1eHzLm143XGeEZRW55ezK7E8Z4j6149tWbhOOfT57KDEATpw8dAYq2cUaR4UmnwAmfZu3BvPjuoRheeMdYkoAPxZLagVdQP3SnZfDmRTRMjZp9ThfXDRE/Au3Fkx8bbn1GypHK4GYc1msGlZwvnXO3LjqWnIJKGFvopBalXTwskswuL+JWi+m0Pt7xPKwn4cVW4RjikYfCigrVOzgOr9bVKgqBq1hytsfhduQqdDsdgQsr4T/eeMYQB8oP3DqyKTG+IrZ5bFyrfrCVQWlThovXXJO9Yl56o5R4b9PRggGp0wB7OACFq8/DHSvIKlK/EDJqrKy9AG3W9mVtiwAG9Vfa00YVrWyCK9AujCNeXbSv7hLmwlNptz4w4SvWlNZdWE5/RyAEwfd/8CkboHJp2wbPzuwW7BmQMxilUWc/99DgkclORqc+3TGP8Hj0WXjAzz9DnB6d5cTnKlcOU7KZ1nTpPp2ZAR1xgZjQK16FrMTBPDF5l7hI+h0c5fnYv9WGNqBmaZ84cmBM5duKpMXdLSbFK6MIVt2u9rJKJhYoqjg1NdrzavQPejVrccHPwynwpGlnnDwYTnOkMaUhbdO41S/dm4NgsiRCySO31ntm8b/fjUPlfr6r2GEyaFkghb7yh+kBrP5fWm0B8T0vLk1kWXbBuruFpmyjSzcDmELjn8WRqpthz+791bVELClT+CLCxjhIG4ERxD7viWjwpQIQb6DbCbGWopSLRWx7+5FbW51N17XuYY8x/4O3moExSwo/+M8H0/sMbdue58G1m+QG9YAvrR0dLESqB3IteAmIQJ7s74+URfA3km9hbjIatjYJqFjEZJjUTTelO57kEy9X+rDFKyJynPieaWeZAUd+QYV50Xvk4vpE+XfH9qJdTMaJvJP5xRU/+Neg6jI844VEJlH52nMsHZXJ4l9muVkCo/OkxxXQXCaPvu4vr6z/WsoIryFHO6nQ6gPAKjrM8sOA7Q62LjgRqE4JV63bOLO1Q/9ak/y4BpbX7pwxUppftIMAncv6zI1gWnrr9JDS6//cUS/acBbTjejdyfgWm+Qp8yCM5TeL9ANcPr2yaEmhQV7KQuqG9Nlc05/Uwrhhxf6wJiNXPSjY5NVAdj9TmCxew7HNO3eC3qLj2bNXEf8JEXT8JJmhFn9lmeYMMzOzWD/aFkeY2gDnJkRZoUqjc1vDmHaD0olbDZwmE7Mi5LG9Enip99f4cRZWyYTBhF4AphsBpkTtC0BgvWB31yp3lvue+/I/xMRAxpcBfvMyyDR7JRBouq2prctmXMlg2qMyoU2bVERQ3TxqIPtIskE/ThmJcGWWCYOAe9LXyg68M0znlIGBbOin8FoaO5syQtqTcJinOa+Yq7wYCIY5uOaG3ROCwdys8C0lgJMf0MyteXJymjZdv3LkMz5wC46dunMuynklYGE+TwTj/z+uzMM5CQiowH3rhUHde0YvvgevT+aHgV76tP4dmE/MGdV877dUcIhU/2XR1Ke2oleM/f2n/EpHDSTTLP8HDeAmDmixnRyIKH70MQBoz2r4vR5+EFNomAgN9xgUmH9TSd+6ve2QblBBlqkjaK5k87tdw3YYe+Z9tSWzx2trWFiAZXqmjjVI8mrXVnme5qSUeWzSkGoHhnaBDWDXbzYbazm9ilMQIQU/yysc1EG3hXUdjpiEBmHvQBUOYUe3gcCNF4+QyAgO8O2NQ6DejYD52NrK4zarOJbBjfnAzJ92lAf9ueYbGzQmJlTUOkN5eMY4b2nUlX5b6wOkf68oxuGEVw4KHHFRnVtNPUsHbcx3cTHb5MPwHQ8Evy7JhkUTWTATnosORsrGL4JwTKAfXbTZEVDbEch0nyEJX4kbRxSV2I7GLu4PJDW82ySsAbS5uvIsZkKETm81lvxIdabt6hAKvPJbGU0+R6qjmGKMYQ75HncuGBIAJO276odV3k6Q65FWCQOm+1MPGkByGwm2/sB09MWza8itO/P/+SEcQFqX8C1eSQ0WCFDaQcjJQNBNNZ9C5cMRcTjvk3ikx56Hjm38aq1cnD3a57KOdVZzIFZXg6Tvyanu2CVMOCJcgRbVeWMc6yUVH5Hgm3wQwvTMiTpWsXSHBpwyGVQajhzDjbzm9VuQ/KZbUbSjfAXimLRtPNKwTODlLadi4jcZrFObLXPKWf2nsH7iIg0kF0Cjsbiqu88H6V/t1PGqkE7JRzJ7Br5LTzDxL5EoIO5QDuA0BgY8tvDihDdp0fRhEHhMpekaJGBeMV2htGahm3KlSAH5VPDkNSGHRTnCHCZT3p0O537POjLpV9ixtYpEuB+pieMPP2NCl+l30CHbj4U2WBc0oNze83BPokFjPx9WMGgPSZOJHyyaBHpUWUsPyVGkTN/dThbvKoqgFNRiDuh+sf6JxOhaKZUw44ZHyD6gb63YhzNqQjST2ICr1r45iO9WyiCEASiabgRDJl92LjZB6U/TQ6OPGRPfcFWNj65pSDCAIxp2CytOymWxVtUSTKqJuhSZbVRnx3e7mNhLl6vP+ZNRBOb6g6m2dd1iA54QzqL+/bfeyDrIkVQCTtGzpLlFjsw6JOW5/I/r5g2klQOv4YGrwL5qGebxmbLYv63QVBLsAcCiMJpeCo4BthtXXEsch/RnLNLj9STWsk1TyGNqP5mWY2Qg/LVo11kpYAa8QfqUYWQgZyKCA5jQ5ZJ0gB0zB54SjLKIrN6pGbuEgG+fodySo1g8FYD9HAxDKqx7sdQf8/qSEtKkwnrpmiKyGFeeMmQUrgjeSsgf8S5ona08OLyziRolKzrA4r0vGOmZ8zwwc6fdMOXaSn9iOMjRoO5nC+bzjVfknzldWTg8/jIT8TI5EauS/erre6D8zkIvD4nHkJ6YLPsmRR+2PcHy8dI0L+BdgGTafuIOpj5uzb7iJdE/VK0N67S2PZFVxHoqdmHwdNsYr7aXdB8gEBhj6syCcx5ljEwpc82L1Ldtf21rtNSl1B+Zo7NEBdp29fieMH78hELgI1B85UagrWJy9N3Uo1oTcWUHYB/9QGpk/Dd+o9hq5gflqeqCfr8gvj97M8n8q0t/KtcaTZx0gQ4bPRRsfpBjyP+k+XITThkF7amLkaQUBDvQOrZjbKJ6IEskis6D52NG6V4i43kwb1Gt5Hcuq948QBIRK4rWBMpzPLtgcK0lTa+eIeTZYMUzPkAgGtpSD12rDExPMjubCCmAQgrdYbPorY/GyhDoK8Uw9TUGcxIowB7WayFszdIIlDYfe0+a9dMgdqTUNBLjC+9eCYHw+E/d+O/7rjka60I12e5dzkerK42BRFMTRdP0p5NIDzeX7k7+S+5ujcuAP9TMnnIN8Sf7AoLiULMNA9+wX10fw1EcbhPoaUpvx9tzj8kx5voKVgFHNQceoWXVJWWsTkAVvXOP4xRJmfsnWSO5UxneAxgkuE6zqH1znRffzXQvyYB+fDYMr5kCuIrhHreHgbVJLmIRLhEyWp3azXmRYQVA2ciQBXvJwgLdnluan1HG+huiZXt5O3sfGAazibHY8vWLBbUQ2zEZsR5WhEI1HJ+ZM0cAiBbkXEONX0jB3LGygpS5YssgILvFF0mnI6KfKihjrRCzEAotcs4urKPVy78r+VHLFEmS3QZ9nb0VJzafxervHV+rvyvNkVk0TOipioWsYN352m2SVZ2yqOBxPEGeHD9hYIKU4N9O4f6kiDeBhXyclhokGPzFgW0qp5eM7XQgt6aHKR2PrVnt/ww81x+sdkC9x1URD9cdC0JMn7I7AhrDqb5ACaa/7F8xXl/Lp5Agt81EJGemUcxWCksEcb835MLn4ciykGXp8K7vwZ0SAAiS5plyTG4ggBbjk8yXyl2gYCtTFCviCkEjXbe/CemADy3BXcXtpYlxEy0pkUX/bYXKBxA7QFzpU6uyuwFuXLsZU+bnBsWuw44cTaW0Z1CMH+OE6Tnd/Cw4ptUv5siqhKC0xHoF4ih8MqEZSCS9X3igbudJO0qc3BiEUdm6BVtIWYPOoK21HJUOQ6v2WuVFDiOXrCJHf0boa1lcdNRrglfP1Ddm1eV7+lcJJOT7NgW9yCurlEBbO1/5VaFf6ydNK3v4Vr4EXQ3ZGHXPfgDe2gES/o+mxeOUCUATjCySZL5XsCUJbYR5bUwZQosryv3cVxswk4CTG58BfSF0U48ywxOABuRils+jmgtpJ+0YfKiww3e4RKM4fWw5qUxDwAN0KHseJ5EX+0gr0SkWT9avNzF+1rxYbJhIwRozTV/htksuM1uAxyHNlPk0pS1wytEeNjmXK2g9TFawuPhGz+IlFAg9d7ZdBATIlSFEUJCSJXegt+ZJGDWZbyigA0r20yVivRm08psGKgImcz/f7rgw71LbADRJYdw5Vjtu+5QnXoIr0a0w+mGYBulxqfdFDlkkHkG9BNECpnympRYj3EUQqp+ZuGHxiiUJ/J8S6nSrpDqeR9ovnvE0RyQems9TLBtI7hPVI/nW6cPY1EcW5So3jqSq+TLAaZOgsx9YYErQgmvUw2pEWTiYg03MUccuMP+bXBg17VapQgLLhSetN39wF+WfZozq4qysH1QwYVjA1sYP3HoHU2qhIF3rKfeNIhIJtH7mPSF5PZsNtYWAYXPFnRFZK3dwVXUjoGLmBSOk+VMnN3YVI7elrULwOwef4Q5Tky4gZcCmZn8WdM5NyAiJcSTki4YotrfX2eImDSudAFtoytiqVO4kJeChy04CEeuanG4uL8bHOzWFnHcMHtyHy1hMG60OE+6z1b2VDjyq3y0L8VqiIcX/Sb2a19inXOic+rcR+wGj5cwvYqnCaDjJrlhyAd0I62EcQZ6V8ivN6HBwJIOpYFUSk3Ta3peHFVlJQkrsh9o1VU5aOBrGOjcGcyMWbXKEui+6csb2jrX1JpxoUhI2mjET2J/TcEUrj4N2LJmtu8TL9eUKFYxY+51g3R5rgsYh2MDInUJnye0c2aftWA/GloGmtxqzrpmnEvRBiPk8JJedtN+yxBmZtchD55UGBPUiYIevN0fyIsfoe3U70Uy0V1Jjp2SgICVH1U96ALaO0qIj+WOnIydyQCyRRPHboJykzjq60Jad/3WDepifFOvLC5xBZl8BzVuFv9UyP9mAzKg7v72lj2HtX3FuDvcJmaZ+c9Fhufi0UYpoxZE6IxhHAymVyGkz4KpL6XLtLdbZJmEzGBfgxRwrRtU1orpzW65P79/bpXNPY378bSPQRYtbz1ZQNT2n5nAbqtdZ5iTWXAKfOVFrFN9WxXjGs/geNyULwU2lyiD7BRE58K6O06iJ1j3VQrWjSYkOrPw40E8836chgRKuFx49C4/pvGmgDYad9hbPyFHf0lC23guSMNvBjAo7Cg3Q+iOw/gJ9kh9jmjfc0LQhby46/n0kZ4MmX3msRcHuKEAOHRmyOB72aBYvN4vq8msHEt4PJD5R3Ht6IutTyWjxrYYV2G4ILukyDKCfRRiNss+SDq7DJn6OhZk5vfCCHSz7b1hXRi7cnspzR0vEVnstmPnW4q3s5ihVLC2TlOVSZxUSRMYF/hTXyJ6vGSOvienQEfoTBT8yUDU5Zo31DM8K6eZAY6B4s8s6QFwyShF9+ziLnHrpIK0kTsj0lIrvl0iJxJ+v3fecGV7YUDJqcHhxFq7HG9gcbaGf25lruA9C57zQNCLbz9sLEjI5wq5wpLgGlEaEQSAbkmOzl65G9m+SvzoT7cAVJjjqayUgofT/QBbEBW62UP1wxpZCeXzexTDswc0I+DrUcCFaOZKf5nBrJ+Ca3yAv2t1ZPMYTEHoCAF7CgxlbiD6ilzrmghtk+cJ1iREB5grQOws0Ck5vl8FXOifXDAL+t+Bxg1JXOPIQJJ/phxZEqf0PxM+kjaKIztBrhJHbXWqv+kEwZsY1GxhCOBsfzuf4Wn91SH4jbhpTy1u01PGUT+O5QuFaW/tGbM9G+5+kqQKKAJb7E/Gg2BIuKq0VfRUSQ5AShhqRy7qvKrAxeXXmXI3FOosT8y8vrVIcACeEoHWU4dq3SgHdVNwfHu/1g18hah5Fx/fSPBFxbhzg/rLsDrMswBgLVEg3fedc/Edhbi6EviD4RUhjxfPZf9LHpKuEud8NjEfN0d1ad2Qb+VcTcmYKJGX5XjSuqsQZUCxDPj3YeqY19ELbXXzkPBoLWQCuIsnnp/r9Rkrk7dUW17oiboL7nS+7rZxO1Mz1SiLjeX99sr6nofBd/Qe/vo9Rer4JjbCbNMAwU6BhNNsu/n6snqgdYmAlCssEtYgPWDOlypbov4Q776MncjFZOcPToClb5bGuj9Ki0h1NpT/xXrMkXXoaUD5/RbegE6bg8Mvyc5Q7K03eIHy9bQaXUBpaSvdK/1ZuqfQuaug4b+7kZ7UDWNMMJc90l/ZlKCzPWBY+ySQGi5oR4EXHHqfBfSvJBM49tHhqbsIt/jSZVuKJLZwSPULSK5yhtfNxlxRMtyjqMKZyQUcJb/J1EqDx79sw1d7uH0phxrRD3d1/lkfkBFZK0gAAxQSJPisN1CjgFk5YACT4TjIOiN1C+cglR6ViFUtCkAdtbgTuLxyImZfmJEU4Fey+Z69buRUTRcBzt1e4Nm19kXh0vmEwIxF71/sAijUwRjEgm4HuX4hrJMMd7U/PaSL30JadLSCFxa9uqxv5vGTP6F/ppU52CKQ/btkXHf+OyZRFqAICkkWhrwUaU+0F8euF+U39InZIDxOsb3v6mImZtMZZ/46F2nHPS82fsdmprKrZ9LhSfD/Emh5cvE/eZzSbHxW18j3Td4ehZrjX1E0c05/sXjrBtijwl/YvHWZXHUg8AKj8qaKCmBRcsXedJvx5jHYmUf43oSobzCIHgmeZ3KzyVmmUtQM7uPrRiuPYdlRz4UMqFUmruIjfoWFkV/Ltf8bqbCu+CRHDOssU5expChfGyju0dJ73mVkDptvLg1z+99vvuB+arT16+1KvRRlEzxowK/DTVe0ciVfnZ/Urg9TlX6P1WhCyxzLm2DZBDniw92hXLE5O+iPEUDgAeHi/SXlEGX/XsIWNZSoZ+5JsLHP+p1RTH9qlwk/GNCRL87E/nNLF3gqkSQn3AurKCNh4tCvqUUWC+OCCbXYdyH0vAB0EpwUpcyF7P4vXsrvQ/gjpC1KXZ1tSJCDNC4npOJuYsB2x00z9+xOpeN2C7WdReLH3DbJMVj1U1BQlOOihZ/iHZK9ErgO5b3Ps6Jr8D3aqTQ1W2YEvVVwd2n1yC5oY9YJiksp596hhEGZ+G/F2x/pdgRlMGSuh37A9nZmX6TVK3D7Vim6mZup+dgJBb+vCyARd0x1HikpwXuOXvAbCA8X42WBRlT+ZQxV9+qoXLZmiyNxrw9ofsHtDgPbBWrGnsHX80z7Hn7IpGyVJxHppzjpsvzlCG032yrUbCG3oYPUKW4ozLeJEYP9XCOge/YT8HmzHtMorL7VcyOjBQflTL3cbI/5RUN3hOP44UrthZAmfObojkMv6eWqAkYlZ+UM+FYbjXY11o97JZ+AcYleD4KJJyIpE4PWNmrkR186azWWR3rZ5tXgs4dKlf8hjom+phNyFXo+K42AFbLguScm4Ub3ce4K0p/S5yDU3Mopm2urEskyur/duLXKvbhM6dOD0ZAhgmz4OIPbPapJLuFs7THELJYaPLlAbS9dGL3xJDzllp5EHMDKXlx1IZmVdSk+2O5nb7i/RE+QL2Si0ADNapWq8kuk1xN8Egjvuflr+58PgPUd8vRVZcRX0SMt9MUnKM1Hs5V2Rv7K8I6q6zfk3QUIYk0zvHlbyOuKbUZFqcjVkLukL6n1wzVInSzr+AQ7nnQQj0EVYoc76pWKLurdx3vQTOHkuD0+aFztMyyZ2WdMb0IyrKfTkixHfvatrCSCtn1zVqepM8orNdzdAEajtjn5QnXkLbG2ItkCpvDWGGD1FKLdXhBLEMYfPor80rr0Bv5jOp+k/SHMmUiCZRkBsIJgSQ/UntVik3ccXI1xrJpDtddYpuR8yNiNntJBm/oRl5P9Oc8s9iOCD/NXhivu8Lr/of4vbzpTgghB0UWeEl6Wp/WNKbo97mP17263FuJVC3jFInie8Y+MaxVNu17ORFv7EH3mdBDPIINj0QUwYSMRRzKEYA4SLH0aTwbZ52jirWX+yMTSYvdXvRAKwJuUY7sTZLM4PPnOrWsPgzoCa/eJYdDDXcZ23n5FBqG+W13vug0UQ9xqpq1WrYEO1dmUqbgwaFP/4qkArek1hhsgQV60mzfLY2JQXscMohNKSI7r6HlHITmF4573P9qVe1Gpni6I8JsbdgP/1mr3m8vzob7PCtdybeosK4EDIP8KAxQSrq5KbdQHLgc7rACWQ05FZlc9WqNvldNGH7LE21VFU34WfzBi4i3RGMO9L9U5Ldyb8e3reV0Oi1dVm0jPgEBZrb7IQDheJWxIvY9gJZQYNrOoH1Tdo4OZ33q7K7ODrLa1Kf0iU1Rw5QH70b9wWv1YZI1Fv0bZg5HuaSRC7ECbcW+ZEHNe1WGNrTUWMc4v/i1xijPD+WF6ntT0NwvLrKs4mECr0Ql84probtTWJSUOmF+jlm6KhBWPrTTwzV15nB2ZV4nDa393NPdevjU7p2TUdotXz7ObwEXUzHPRObJ1h5Cgy//5sGQbB9ax/C1R1tW38DF4pjxBMnNqeDbxI4ub8+0zL0x87jg1wS4REkiWV+JA3RiePspf2A46jW+8DlagZSygmpVZBhs1h3Gi/Hn3GRMTpzDHs9OtS90v/esEj1estizrDNiQpUOUI90/QvswqKPSMuNLJtOMRaTbGU8cv1iXIOB6k3WxADOgjIlB5uOG9+PxmHCfebAJ/CaLS/EWr2AciUIlhstCV5hPLDd+DY+1AQr4VFn4Cf+iJNe64/I3bPmm609tAm1ETu7U0SkW1wbhE36/3HA/Q7N+MickkSBNcp8i63xA7i4+jokOb+bGzJbmuDldG+q3Ex0NY0vL6j6vLyBDU9bmlbHwwgzl8tSWvwbsQnG6/WVKVa8zMt+S5LRvHbOdtkKeooU8q8nACBLiIFCavxVHkQujonFB/DHz3mzR+3zTVM7FCXxdB9+PzGH0M3fKxp0y1iQAMP1lEKSzmKDf1ax4m7mzrvHDHQmpjFQsMIunv/8gmhchNyZLqLoAnP4Fv5TK1YkkCiP0EJLsc5cQKUJMAYQHFYpBQ9baVrr/FZI/FJvM4NKAbCjIKRkdj83bbEjwV6w/p2DODkMq/82/5dEFBSFYNJGaXYCoHCQpv3eO6o6bOTzzv/7t8iMTYtVN6zSHd/0NUjMaBKRfLamyPxnL8udMvImxUgUfhqALwhkZk8u5vQcE6U02i4UPb3h24XKYpQo6UQj3plIA0GRJzFt0uBX7ySP0rsGSoRmGKgDNnEDiCmGouXRLTl7UZoHNZVeVUDgR52od91t9NlxYJoczSrij0FQV3OoiiOsLxbEfebNtyrppSygEXS25vp3ULGG3+CQBK4sIPc0heNRuG+pupeZ7uQJN9K/0PdjuTqJJrlC6HeO9AK+xQEKJIjUA0Hf2UxR6DPEviJdfmtXdIsi49KQILwI/cKwhsGjoR3b5c0GKwSPn9DlXBks18JaCYsGUYY81bDxdEn8GK5DPVVkL65Clzc0C8AGyeMvbbF+wnI1li6X4JQz0f788xEOz6mH0X0FuFl6dlkYsH8gskSB6ou4TPXFUtkahJAg5EqpIzsHVzsvO5gk1cXXlkoxOgdtBteRjCdyakCekfm5onni5XPkUqtCDKqZxNEpeBvEhTw9Zrxd9enm/AnqXyZ4NEKlBWWgM5Yl6lMyM90zBxJxUFXuZKCUtCAasoy5NDeUYekCsdAVxk67i4uU+VbNdSdklxuIuyWOoVXzdJ5yNLJFBkdQIK6yULXkIUf1Uk4CBV7ePEuTUJ2DvjSgPXgqvj2jpBTYgMFm0yHOePxNDjipg8xS6gEmWJ+bXa2Mhqem2s6Mfk+1Ei8lx7vcZ658dCo24x+hPv9ZV+VSr5paWaslgnEhbi9S5WVsNH/k1/cndSxeEDMoeBaKLAHvcVhJklTvBP+EDKjR0VNekx4aOrn1IV0R/5pgrbpxta/XjRXVsMb8VDYXj2SqAD4wsRd9KbDIAnBL4bFyeywuoUA7dq0oRXlIV4VXjr7CNvZcTc6evqtVY2DhG2VDxcRGba+rK2D4Xol1kJ9L7uwoxvdrajIdMH2k0wmGZivOKa6Dwj9k2wSpBbgrwvt39EKw6jWMX40JQx6Z+HAxjbTV1yW10M6VLpaRcopIozQs9g0iBo2nRH6PuXw6MXHZWRl8OAnSqO+qdOSTCCh4rjyimH4PbuvHK90pY5PFrBgqi2K/Vn8L60VdAAHG2ZKA3JuAtZ9zLoN10f3fT7qkY0CNE0eMBno67CIL1EESUQgwp3u+lbIwXktS17KVsbKr4AsTAomLawLNl3ONPECnR5m6xbkB/ik24Wt6B7BPitrTZTn6RTM9usYHNo0/1Q8fczsqGpDii1yuNS1uNNcjLbx4+zcBXSUoSwSw3BwcT2fmNBG60Bzxox4ThLkD43p4EGgXDIuwDaCz0rGT3ZbMfouRvEbwi6TcrxzqBeGIGHlLsijpUwpz3iJDtDzyw4s8k5U7O3OBPK3uqbsyTH75gYhzE6fR+hw3l6JmUoY+9BnWN/aYKl2uPjmZr3yqaNY35vgZYbrliHD3VdZ4mMET0AGiromLveWENSlW24ZqJlJ0LoMFEpD2xLMekrHN97SWePTtm3prBxXn3Yrn7Z4Rz3gAitTIwhaZsgzUE+Tt77+KhdYDqcY+VAQ5B/XjxOBhWh1B583AJNhrYmrhxLAkPEVN5agumWgJgvyuLaugv/FzgCNyR8AuI3SuoqaN47o46+wcF+Jl6vNLnrNV8+BXnUgEusmhggxmnPeWg9kEJ1bSHTjCYmUCMmnKAJBf+hjIYaLIOFzWje7Sj/nktjOQ/nLrVSTmjqSOW5lSLnUhioOy1nrbVYnU9JIkDEU7/nhcrsKOr+WXcBCZUSVBR6Pl8WLjHqF7Zn2C354ERKWzj9Ohb3il5pbSjIXWcaq6UkHgGCjeOGO1PoxO0/LoKsU9FMG7BIjVzcESoZxMckuxzlh42qpv5w0qt1VNcC4vg8VNBewFGgRDJF+ITg/im+7Xft+NkEzZujs0xUo5HoOXUVnK7rkD6ZxaHRvOotgp4i7qSNR2sps7ESPhUZbX9ntxf0wy/N0SFwc0FIuhtBT8XBWrUbeOFtRTl/BP0EM/ycQTugKHIbjAZl4CcPq/Ky7qhZLVG5WGVQayn0SB1R8w11RAv25d8kVwatFD4X9e0EjfNJXvQmfy4nOafC0ePiYt0xhmAyCeBHpNO0DDu6q/4lLCj7DBt9pIozxsFBAxV8RN9VxfkMcsaLjFBE4Wg7g2FO6IthYyRisykR9t12HMThPNBO1x7dooz5MVlaXl4TyhqyDUdE7A21a22Ycc0Xi9ZzvUsYyqbPLHIOeW7RaLNT75bG08G5Nzh5PvE8a4AHc4H+dwD+rZgTPAf9QuDbY3XOehmC3deEkLY5Shki+X5HequZvEBYWQGcgDUHIeSTzNhRa0gPNvJyAu4A27tupAJO5pZvCFrrgO6SlGIbyQgpStBrWGgvm2xhc5b+Hx/vZl5jCJihKd7Q0j2xEm2x/7HBb6XZirESIfdWZucSEx6gzdkaCpWr5ah2k8dB/Pvyu5bdJc+PZzaSZfxesT94D0yvHLu2pjzJ3OksFMol0tr2Dv7GtZ6PBfSyIzeAPqbTxnHAq9JmNqxVpqjpcOgEu5FtQPXLt4AAWP93sxuGr4JxqAMV5/yE0r0DRI65uibiIDto8Tsm0ij1XBN1uDlMhKPCWtkYVS76rwCYShDm+rYAS5Fr9P1loFR2tITMbHyWWhijrWMX56nC3AfzYhzCf+6dTs1Jl0F1nBlsadwBlJrTaksQs3JwwyHG+v/W47vf4g5ih//UztZAcJAhxMOrl/Ijnim7fix6WxGR9PuMzUhk4dsCRw7IOU5eet8GszClJEp1cjnNyhOwukg/MBI/buuj2Jfr2ckcwh8r2LgbStKJbKkhVZuZhuUTMyZKY3lkCNX2LKR+UP8RBuVf+9y95MnNV2jlQ5kz5uA3xNA5lXSXYzgDfxszZWB3yTGEdnppU+QvBHJmIj+xlpUAVlHYe7E2ZpUIMzs36ABz0BnFb6yNigvbjLvL8LeoTWfLYCK6fUw2iCUvHcvtsL3kNqW9cp/8BctI3SaA6oR2iIE32O8UsSTzSAEZ5rZptEKl49s7SKDScr4C4XCj00NS8Q60rXEyXLtnuNxnvx8HMLcoVZa3m35KpN/gMRW/Q9E+Z5fJh/Spolxdi7P/m8v1QocoPL9LxnPuKS9mfiu33+AghgVhQ45yy8eCf+UALXNuo4FjnN+6X1YMlocHH40Iu12U2phIxSW+Op2150sg0uIs4yaTfg+7f81/h3Y88owZgTwMdRT1Jx4JXvY5UiIlvYhpRe+/byQrIqYKYiQiNSjXH9KJsZMS0n9yK5r0/MbILPvirRhnporMKBwLL31iHS0jljDMs54XOgR3xvY2ma0qen+9TU4UMZVamDiiEDI/IzJ3po38Zc0otqR3OA/Xx+Cjep7IMv13clOburw24RdeAktkfrMp8XAe74CprCqJ36CwizAl9ijBHsEEB9OlZJoEfB3ThHihGC2nGYU3LLaKkAiPd1t2kaiw3RrOo9m0+hOfgWeOCKT3D/xtVKmiRzpOeopO8zDDqTLSRKztC0jywy8SwNX31LzBRJI52H4XVmw2K7rbU4u84Ao8gB4kGSr0hoFeDDY/AC+UipoAnKEyylwD9Q/nyseEnyvWQ5tGfUg2a1zVKNeNMGRr1SoLy0/AP4IGatiMAP0st4RhXp2rDnxff9OYeuByUGxAgByRmah1gD0pAhoLrODoGTRjgK7b7Vv3Kczy6hZ68vSlnqq83a5dplFvSIqvEd/apHd8tM/2TmX8fyAKcW6FXQKvnzJ5/GrgRKTDvRgZqfcdIxSBJV2LwBSTuk9XEO4US55PAqyNMHw4tDnAtXCEyaGiQ7WJ/C8ivUBroa4dV4PYfpqVqBMdsMOxFv9RJE+aPOB2fOqxvLD5OucUMT6sVCW7/e67+mSGhbTssbvmMUWi+x6Zd7nI9Si8jS/ZKkq1l7q0fw36keyksL73rk0+J7bW4A559MdyAouNXNeDdDGYo0qoKBwyybOUPjfHLDR3sO0GcRElJN2Z4O+ltjYMy6nd8TFMw0i4RV5vjl9JZO45lkic4b/JiC9KxEZtbMIIDpdo5lUhdIlqYKKm8AvFMPY/Bz5os7ENcmMAzD4aKLuyuTjHl5ichqgiVmyCjC4/1cNa7kvw1HFxBYiZ4s5Sk1fNzjk3LvK/yQOBm0GkUiCUBgqpZyRNWvFlgjfVVmmIAFiZ0dInhK6h/xFQnbAer+vIy8ReUKrYgTKRiTzzLBwrOw22K3pGHc8YPUNIdRQUVlNsmxdFivwfqACPvIzzrv5Kgr35nCQwD7vddvDoCp1bbfnucsGfEKA/ROsHpHiFesrrfViq7pultzj8PNBOGki43UcCJD5cDxgZAEFdANGT/KYyHzs7qPFBYKaE6y3A58/oWfsEOFURfGZyeQJvagmPXeTRoxEp03HGJAnszBOUodCNXYvSV6QuV7hyz70apEQO7imiCSVeU4ctEj/QFgGjWi81QLq9okTKf8SvCY1xTKTD1xvcB4p/sug5cSSPcGmQ7BU0FVf3/B3Lenbu/4z0YDkPaFB67lYcXGTMVYroobDifCLpfy++KjCXFSbMCFZu11o6ADkAwypfsNvuyKBcgRtyMKjgx+i2WrBUNn2zVqCc+Px7md/xXdCgyPCPCS2hk35RRsxd8Gd1doU9zf9Yszyb9CHoWIusSqYWCOoyXcwpXGV0iBtwSx96I4FKt1UimAJRVnFiHrxEnaQ3wjeleCoz34QN7hRKHKyJCSnzhdnqNkO7Coz9rqXQUpsbc2gnq4XsUtwWmf2lpS+w3owS04AdvnjQEmZZVV6BgzQR8unW/0X4XR/mvZtJNmxRShDybtroOlJ2NYi6sgBw5sPkwFBlQXxhn5OSM+eTy7KCZzTDX8s5xNPKZ08l19s056j/ryiARVsHQb4yx35mSIf7ApRag1K2sM1Y6GcNuIpPHnZ/gYnQK8mBhiluUfcFnktqNuMCGrjUrEV5iuboscEwpxcRYuW1Gi+PAnOIxaZOEb0dGeJ3qoSznuHpIik3btyLa3JB5eZmphyx5ZYpdFElJ9xBgzTDmxqodjT8McHwvj5Nvixz0rT2efOmD" title="Mekko Graphics Chart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70" y="2040570"/>
            <a:ext cx="8120030" cy="481743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752600" y="6324600"/>
            <a:ext cx="16578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Century Gothic" panose="020B0502020202020204" pitchFamily="34" charset="0"/>
              </a:rPr>
              <a:t>Source Company information</a:t>
            </a:r>
            <a:endParaRPr lang="en-US" sz="8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75561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ogle Segment Breakdow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dvertising on Google websites </a:t>
            </a:r>
            <a:r>
              <a:rPr lang="en-US" dirty="0" smtClean="0"/>
              <a:t>drives </a:t>
            </a:r>
            <a:r>
              <a:rPr lang="en-US" dirty="0" smtClean="0"/>
              <a:t>70</a:t>
            </a:r>
            <a:r>
              <a:rPr lang="en-US" dirty="0" smtClean="0"/>
              <a:t>%+ </a:t>
            </a:r>
            <a:r>
              <a:rPr lang="en-US" dirty="0" smtClean="0"/>
              <a:t>of the revenue for the base business.</a:t>
            </a:r>
            <a:endParaRPr lang="en-US" dirty="0"/>
          </a:p>
        </p:txBody>
      </p:sp>
      <p:pic>
        <p:nvPicPr>
          <p:cNvPr id="5" name="Pictur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xRdLyPBQmwFteRcmjXfmIKFVOE+x+7D0L5P2NswCZdSND9jm6qtWtgga1//aYSZ4L9sVAaRcrUs/N5mAw7NBt4+bMI+Im2fPV/y7gklBlxI4ysj/lp3RKZ7mGHVSWoJPC0522DWjHckhkOsUfZ4Kci0pobD1GB0XkY5O9lBXwa00O9PVOR9OA+Sro137YuWQFErx+/QyPZfhyCoB5o9iJ+1Wf0ErdioKeSJ43ulpF+3/MV+FvxIl4LOEygpF60972FIHDHa5/Q2b1Q09z5eLy9vNYGGYx7Jim+R4jTnMtFRSKz3XQ55hGPFbSvqrY38XY0v1IK7zzfjo6xvK+JWG9ARo9NRTnnFeJiOKojH97Cc0zrKRUJVKg42+KpqLj9jzFfnzViIyLXB4LRTlj97iNx/Vs9aap9Y9UcanII93YOGvX6wUwrUSwhxtmhxFVNLECLDe4+HYogmvw+rmxthJNuslyIXJK5csuA/eUBFNlyQmy2N8Mx2wnhwKcOJAD0J72sojoJPci+cllYTSEpbVLv46qPX5xJWkfsklXsusWyGGCaQghzERyMNvoPFuwXWkgeM3teMCh1M/2ETZBOZqr/AVkNNmHUlC3Ct93NEDkX1kvU+vmS2H4zVn1ra6bD7gFFsgUTBV/Lku1ecAH5IHe85HZhZqFybNtAbew1gEuRI0CVV+AmG3e0U1bB8italU19dBfQ5NyH3+iDSQcrXH+8lZJl0Hd4MGz/MdOrnXZs63rhafFmZQ/t40EPLYnvhShPbi8oQ7K2ugSTIGYl+WlLoW4u8s3qo/ExSP1xzKxnGsj36P3QSjr0SuwD7Qmk3+IAV1XbgdVqWwmgdhT/Md7+YQamY9Wb5okbOAhgP/ZBDLIET5S+Ys//4kegb5QEeDpyVUaODuxKBGqIqxzN/vudiIbF4wVIOhsDYH7ZOHrhspGHlxx/F//4la6VchicYqoRHIKxRVJDJGT8sitB9RtrHZBTnmq2+/YMBzpU+IWxYEC5ZvE2lHjVfWDv2w3wE8n6oacg4qVdO2zUBcQ98adQcBUZAzEDEjAeAaFWW1m1hqhMV8YY4TS9heuIwFuCIkHbNAD69ic2j4FwJ/EatQ/Zu+1ROQq8vj0RaGQ4WbrdaXiWlJbl6IUuJjeDVhc3JPQNz05RG0SG4SjzBx6WeB8x9Xy54iIWdhZ8x2K8TQ8D20M9r3BQxFngOXqJhiAgsFisQdqHfQBFNtv/vShdfkWFI1Meg1GY6r0A5C6zDSLtsgMuCTOlb1zzLqYzkGr+HSIK6hRRH3bTF+c3t3jk+ZqGngS5LCQsrUyTw4/gK1l7ZdIMB3bs29lM2nis9laTwdMuCyigdeAnKuk+n/Wgb2bltPSo5BV3EBJ5hMOw1NSfYGh+xMbAXhFERdk2QUZ3DCDrwlI6cuFvEW4aZZLqeIKsz/83G5xFaRpdgjE6FSQWS7iwXo41HZI3nlVTav9NwQ21hLi+zC47FPTTkTHFDSkHuNzoNYyl35u69LAfA7HUrlLDDLCPeIUSAMBRMgQ0tsMCldqQns54b9mBMa5/kszSWcPy74EJACn+fUW51Ns1pbzVC/UE/M4a5OaK2zefdZ/FCE2763VstyGjsXBk4ApIJdodpP0hANFIVesV51L/45/nBxOsfv39U33eOKaEDoFLtG9pugi1//sGPB3pE58ycacIUk/X0K4Zaz2PMug409q7RCIGUAnzjmuEvHxd7cH4SRfAD5QipdJooNXKpwvRvWQIysGJ0VajNiiQ6uLUvLEIqL7xaMu2AH/aGU0czztN3efdxRBjtEGzVHCW6YhkrYCd4ph6rjKdfsr0UfDscXOP6K6GK+7CxPlBFw2b4joCf5mBWpIhTLVz460PIOCDYmmfvijZbmOOW7jE1p7om3O0y3rlZNjyDi93y4cXXj+lXSp/W7nObSS0JkwONscFMnV4Drku0IL9vdSwOfGz3m45Ts6EID1jDlq/YE4CqlLEzyQHhkUNbw9UvmYRvmXe3AUU7036D7X7EpWEIld6XTWkJNv182sRXNcKTuuGWWHIYyg/v4gwkaOCs6txVuZ7UrJQy76gzDkc6P6RBwiu32e8dPsidLHDnqLHNhyTFWG5tF6W9ScMTiGIopyfQ4uigNAiVcXlMnjlXMupiB4MIlJOfGEU2oFezB+JlbStbvRUhbBMG5Ht4auDBmRq97r/Gd2Ku+UFFfsDAUmJu1fkzCI8yKws1GF7Z5zp2XWEmdVe0qPMgjmf6FP2sZbyfjdu1lOK4rZO3qqe2TI13lwHWU62iQJ1A5PdoAW1rEJytY3wmaOlavx+4NBwq+oKetcX7wPu9zVc5WaFJgkaaBRIl+/dQwXuHZNHkgP8xoPT3a8SOLOKyMro2OnG/I79WMQEUZN190mhnbjDoVPd0cJ2NM+D3OU+numUN/5q8ReByisUgNj1yya6P/IQv3Ha/TKPSF+GQJFBbqic9m91/AM/WH32lKa28wwDgGMuewVixxGy4K7oW/TGexHxJLEVtAfim/Qoq/OfJzvwAISA97NA206QJ8DaqZdV6MFn3zEwrmRtrT7hKlCVFc9i85K3tdw05cpclQm0vh+Nis8BmDyVNHtdiKrKoDMJX0D0RzW5AQd1ZMPxeTAQTirPBgH5bsfmAnwSrn93bY9GVIf2ye+kWLuX2ugy2vyJCfmwzFU4RozK5Uln7buASj5+tABBKIdMvL4odUu7r7fFF0yz3VYElkYbOJv5hTO3kJ5WeyCBmqPkJ/YNu6S7D+DmhhX4xsZ0iZid9wQ80Ikd0xaA4xWoEGo3DQ08AcTfhPhd4NfXYjOZYQkQUJ0ZLsZtXDEjcSHr7GOE4OYigIg4sEFWOgXjwk97C54Iw5Fmkiqj2PQoOjWx1AYNWW8L2o7VA1JBkzQwzfraDXKs/xm5zJ7rCnwH0LurlEHT2gfUe+CzUfj6wBHUDDW49aPXwUAtIRXlHW4hxp8ljAinziyD0of0Ia+3XBiely+ewXEoS9GZz4TzWdltKjilGaDOe/GC15FYqx8As4i1+6CwciVXMIxkMnFFGF2KUbqX4oljnWv8U8yPhCrI1pCKSRUtUhjUJXPL3eslzMs5GAM6WAt50BG68NBxHhBGcw2BXWWuEHGBpanAhesQ9JR/tqWOUj7objMB7I/3+z8jV7GU0jpbwphAhhKEPxZOevUdvLT6+dUWWCQlunCbqPBKsIB6Sz803usGYnKxfq8Tj6JdW7aCnvzdxN8Jg07Q275Kr0OODDfNnrNQB2CDDf1yqsXEQMl/yjIJ1z3Cli7JpCXVc5bG3QG003NDt8Gs8SPHYq3HUJFFUPwU/UgXoszwFzovAJnWDGziU81b3vfTCEUg33zST6FlYYvDpEAks0EusuE73vRiTWfh2q+4xPbWOYq/aRZF0XsVgm0KinT39HVyp+L8KCIRjjnGFbmLNDnwcg+BAS6rcQ6K4jUwlcSKlgQiXS1+G60Gp6K+H4/hizuQbU1I/530I/Xwn5/s45USuyikjaRbvHvRGsG1znKYX7bi49xMXr+LHHvqbOP5R0wZ8wwAiOl/JRA0P9SMZZJlqA6f3ooMFevsqHusSxbYTnZujkjYn11qrf27ySk0LHDh0cit97d8Z3fXy3boTpFVxtbeupRsalNjq7iY/CJDrh6EhLDVegjjDQ4dpVdfL9hv50ETDXUYYOaSb4AQ3LWLAObaJfYP7oIURMhATyBlFq5BUUzMBv1zQ9TYuMeocSAGzroBQMNFF+bldgwsFWSEnMoLLPWAMiDOptz1AtmHaexD7M+pb7g1yNU5MqcEKI6fW/8oIHnvT451hJNsdMSfumXQ/pkDa8Un1p+r/r1ZeIWWGgwy4VDcwjS4TWzclpMnxKk2lZxORqMgddlFwTf6MX5khO/b5P976SIHh0xWKRdu5zyoYo0s3RrlXNBUCRsn5Brt/54r9XMd08wWcn0P184sH16wlsMFFCorYup80TvNtKivp06+xckChOc5CxoZVNpQY0WEn1sSTyG8tGbRv43QPv5hhvHQBS8mxoQezk8DmBmFFPvXhsWdMaOmvytXTAxhfSFF4MsWUqraNQ2QRhKIkiVdOI/vwMHDBRW5Kc+Jq2m6tkbk5sbM5gJ3N7JPQcSdjrMAsYcgRr6rXV6kk0CGDziThu/8bv8LIVw5NO2VaXzz3pp2/twzDR7osAE4Zrkxw4i4qcX/17A7Kr3vNvDsSM3BcYQ4IRwcMUBaB9zKP0D5XLe7Er3HkCx3zLO69kGt8+iSA8Kqf4/Egfelu2DYhBrvdQv6slwZ5u0igyMALt0Zcx6R4MoRQdmMxZTQ/3AS1YzPSlPw3qneXETH7YLN7LhbE7J0+RdSs+34UKr6npH0n2I0RX/gNKx2tC5EZ2TXl9U8uvDLg1qlfgNbCRwR8EZo5qI2g8lthx6wqzeoSkEq3v8kJM88DEkCopMfo6z+SoMCilfrW6nKq66n9N9J9kOSl2YfJI1bngUfsIbGY08HNLTexzlEOwrUjDBdLhkmkFt44GURfb1TLr3e7IfZ/bfb+sTs7zaDc80yrVy3L1uJkGMKRrrqnSjyzPzpLloFKtaZ87uF2NFM9aQz9nMvK4RPszHr5wvPI8fVIY9sVdLKXA4saim+uirvLi4UuV925wi93jb1BytdqoAzw4FSsfZ1rr5MZsRHgFo3QZkWil4G+BOr5vnoEO+3HIwWUB2XbGwb2R0HRp82OljK7refQRzj0Qzeo41XgpFZPzmjI2wNMDs+6DJ/n1LlO8f9GrOHstRXQMtX2RslR4AF/PY4/BjT4W5qtAYju6FctOQLRkQrfr8kxSThBIVod8C1rAXdkgY1VByHpC6tg5WQHvrKjEVNytoI594uoFWjR+3JgVXRuuiY7W0LPPHybifaNn1t+lQJp1vBJnsVglWgb3kfoxjp/IRDtQn5jG3751npLrI/Vw4I4nC0AZPDwBUZWGt5zFANOacmdusFfD+anQw3Wnn/kSE9sixMyQbbbi77nqDpBwTuPfHXaVM/j/er9yI7TWJ7nf3KYhEtmCBwFc0NzQmmbOhe6Qun1s8BLDCkqsf5E0xW1eXNE4DqgfIb/SKh3i9FI0CprwY5vfgCGRMwWkL6sPc/KnpmpIne7zRYecQLT1RyciUjmRXn3RqzsZI02RXJtyfn2560XoPK1vtC7HYn9kWjGQs+2UWTCcNGyDMlKeKLEt6CtQVs4A8B2HJzlwv9XMfgnGqzRaK0K8gnDELLHYM+sCkZRuJkGh3+B0PIfY0L6sCvQ9qDYhkfNNIOFkH+/2HdhuTyaS+yixRLXxwpF5SyCFJPUkBRn6WL6MlFE29W2vlgS60I47Y6bWwfV15r5NM4hn16M+O2QkxtOrIqbmUoRBvoeXwjOtcWTf0K6kHVNQO+g8Z4XUAcvLBjAUPgB/v7+w6J2jMi9exZNHMFOaB+/OSaJC//+rScayZbvFZixtUFjLapHowWOTjz9z/kPiy4wTkC8yyG+DFXQnG2sj6dJGo8L6qByLPGo0zHV8gxst9Zz86KNz8kwLc+SucM6iuIN9kjsnxSVxDn3VyHHERHH5Tv7+2tv994WwMoXiAnutrxFVlNpwX/xP9tdUDgb9m0S7IB9572TuFC261zhgghfpcI9aY85kpAG231DNv/1gHnRWej8Ze9fHp3l5qdqCNSItxXxBjFi08dLPjwnji2ozRwaAaRJuURG5CsBiJfoih2KasUzDRlmh7QiBGscJ5h5wRC53p67Uz9xVFUdaDX8KUKmoBoCM60X+92/VfwMFuPj1jTYaWxiDPy6Tc74+PoRF/pYhn8CI1+F8/VgB1G2r/psvmvIyn9mKXG8BTWgyDhHG+HBSo2fFRmAKuaidN7UaYKy5800nOgqoU4v/k631HiCwwgDM+VVmZD4CCWD9+dkAPBXDCp2sinvVM+HlsgCDNSE8G3yXLsbdPppU0TExvYIFcKxrhfJLJ+61AwKSOj5o0y9c5tvqqUUv+SGs6w/LYTnmIgYrDmVaUiCfIMM7FrZW9C7We5USX+2soY0/yaBL+vqXAsvkneDrK8byvqzuw7zHFrQcYUTVJj2TTSaG6szeiQKPkJP9bZyEfoDilvmIYIQ+fugCTy6XxNA7aURi1o8rkCQgPduEY9zr8LRf9aidiaL1tBtAXhr6y8mtwu7+FJ6t36tIHY/Gg3GN23vC2+LbMHbI3/yruhlVbrLtnDVRFVIcclxGpWIWElZNyi1Y2qkBeRnI7E0CFWxZj+nin+bguwBA3YzxjSIAhgzvpmeM9SxrK+6pPf1wa5OtajHAxxxpsi+8M2qwpJNQv8PFhuCu4K6p205SCRCCa5jdUUlU7yc96UCzsykMfaqEsJVRz+nilRwsNO2jTZESzYTklZUN3CpfOJoaCztcUZkfYryiXKOVtUpzPAeMOLHWm/Cxk0FV7sD/SfXZUC+4iz21684TDH41oIcwTB7jpDcvhvHxXFi+VpOUUJFgeUH+xZae/eY+3Arb564mb52w8nu3HijO/yB/6ycfiGmBBvxR/3LE+wq8If1aIar/Wl0DBmRulzMWEiRN2AUnbOqu95e3gStPGwSIMgOSSpC0+3UD/qCIzaOmmB/kblpqT+0i+2vEHmeWW5ojv7sI/1mYz1Fj91fs/kThd5tXwOHNQ8SKJzChtcKWWjz7wFOMMZ+NFo5C5+h0PEEDmYIpw/Ip32Dh3j4L+JQkRYxfsnow8TY3mHbgCI7Nl2L1fq8ugeN4yuiNHxdzVX8ce/pASw6RjK1qNZ+Wc1yaK3YFnxDhCpyoKxoBuRQAVLiX0/5NsSfZtj/sPmBmhhQGjEZMHAgcQE/nVcgN9B1YI+MsmBlMd/FhbfId7aRePU7qF+55WKuAyeNHe2hT/aUAxIdorJCmqvplmpqT9qWVqW2XjImPdzPwbhwJsxaKQQPuchyaxxwn5ru26g88DptX2sMZtFXDO7128ioEHn7lkt0vLnkv/5q4/IIaz7DcrcGP67UwOTfdBUbjgm1hJMakDVCKnQlwL4vkC15jaz9YmdNl4S4K8X4OznZQaadMWK6KZFN6fc7ZfMNGuntKKvpI3uae12L7cniYu+bhKaA79fu7rGU6bt6IXEBfyx4dGwakyfWXZ/BZdVlLDGdq8GokhhTy17XgT8dbINGCHnIAb0QS2WauyIzG2ebcNyMpZHZUyxhmeOnuRSaS6kt/CElu98Jv3GxpAeMTL7nL4HuTTZe0riJXY18ov0ULE2eq9RcZfWTm690h5XkDao425uAJFm7QR4KVFX5H+ee5DhpKqhBvHKPNHERi4P9pL3cC4C2RAet+Dnnppos86buzpetKgXx2wzOeaZ+mVkLZU2YMI8+wjvv9KJPHHDkAqXlqQu+kIV+azDWnjES+T2fiZ3fDr5IKcfYEms3JxuZxTTwjkXEADGi1rwt+5DW/uRXiFFoFXf4fcn82Wfw4ZYiHLWLWOZuB8O4mOxP/LFyyZDzrq2AfCxm/ywLfEYNfup1eIT3bOdOIdGRKOVfAQn7Cmnft1cmweqKu1DQpFMijPwiu4P0EIsFsCdwHFb0o1Wc6wJqsgCKlAWrNHeSsqwMKMa94bbyPH/YIT64bKFiFRuLB5jmDO4KyuUu1wfmgPSsOWZAIqc6cZ+JbZnUqD5z0KgbFeZHaAntlUo+/KAlDR2qYtG1euKauSvRPrC8hEZKqufWjOtilQWFSae2pmSaKQA2LMQGIdncvezrmg2AvQ17aVCdX+rRW9Z0Q95g83Evh8DGJgkLpo8R8hBn1mOxtK7mm7CwiODerzV7uwnleQIAxNFlb1bvDzltEzkyspeaQ/ZiK+SAv8P98DtlgcFrkW4kMp/e/TFunZyyYxAK4dYbkPEbeNN6M4JpW2TXbZ7p5nIVvcVhlBFlDT5UCE/VqmN/5iRanznl/02tRyD/n343xXEnIOWwH8lsM9ih9MGx++Bs4fBer3DAcCrYHbJcQJqk1S+m0wVjiiYMYPin6CK2hJckyZenESaOxEDVUc+lRf+nzSM0fP+hzA3ZbMO9HmBzUtH+0g2085d8ns6hY4veSdz2lHGVrVxz/dv628UZ+io+uOiSgvQjhTWfkBGl1dYeIHrBm7VxyUiiD+aXtXO16buK1iZfAXA03qBdWXHjCFI7wv7b3IVvlMaLtdDEvOgsFzZ2T9Muv2zGUznIV20CPMYYFIqCgcoIVLtuNN7fpn4RPFLT9YTAeKuF+lom4Ji0eYkhmzSQNrmut7kkCieogrCyX4cAQZx7n6XtbSc1GCXXa6xYsENhZJC2V6zFk2xF6B3t38PbWv7NBTq/8Y0TEPc6C4Gqo1e4LY3LlV2FCIoJbl4GmtjGL1yIixg+Pcjw8/qAjtbzr/ywAKLVKaHJ8x305t2hsFe34XYk8o71rIRtMe9Yx7b+PF3J74M3ObFkqyGcg1M4GTtMj2Y+aVjbH8WMKv3CWj4962LnUeP+0T74spWUhXbOKtD0izckeWy2v7w95ADgwdT5B8PBT7Kke0N2FYSDs7YztA7jFL2wt1TAX8CiYFvBN+gL7/oGgVatp4UbNgouBYt/hOIXv5nCQFoH2tEN2In283jG8D6Jx0WrU+JZDNcbOO6/Vfx3dShsClTHUVNOvC7q+p7zdl7X2tXgnig6AdFsGnfuwk73MNlBXLwqef7p3FNMkKH6q3tgUlmY6JFtJGqLkkIWo8GuYpAdK0j45GDUCYREw4ECFrHrDzxuvO1Hjh1NLAXrDE2atCNdZjQzoWZiSbyVugol11OyR8S18Gj3xOpaLstTX5Ovo8cxz/0VrRyfuZ66mR0gCN8uexjpq61dm71FmwRdYteprLfAMPG1yjIXdJ6amCtax6IO85aeAH6c02+wrWZwNCW4n0VyLEu4M7qq8Kcm0kojXncBdBUpv6fzD0E0QddPnMcw8veS6UHxL6yz2QYatMjC0UNF/G+d9Qo6a6qz2t0x2GVzvpWUy5/ErKEGFiX8IvG9WBqFfFwISYsYI7ethozJG/wD15v4pxkZ1owB/6Kxpd8H1T3t61nTD8yGoMNxnOL0F/6ykg2kNOd890tjUJbxT9clPrneexdF7TLVxvw+VBm7PlEDQvL+NfB+/kfSx8Z31f92BJFUVkl4ZoZukdR2R8f9XLT8/6InyvNQFTOW96qNOgLPVdgbGrC+HVhUyq1Hy+ZJOklE1D6y+8lhHMRfhVjHqEYNnJ/gqmx9gPMlscQfbOlwNmnKKRoSpl7whhkz3GlySLjvmIFoTxGzytOxC2RxcNHhvM/+xLf5fUEFHDdz0FQ4BqLYxNGr1X1RIprQb1fJkvkkWSpz0TsmyfbiM5GR45N5ZyifPSzNIV2Fs9iJlZFiL+oi6i8FtDiElIYhtSogduYTLvi8p1+SrEn1ht7hUSHDC14O91BM4fjPmhUcF/zXccQcobLmlJW5njCJF55eROEFBfzqLRwUqeGy8/4htdXTNrosnFH3+HQZJIAy9HemLzKPFU/KMJObBVfo+jkKvtGqdSgiliOwZfQZ7JPQKHo+eouDhhE91D4jFHrBPO3lCqGNJCkdJlK0XkTtNgmZP3syBZPA8sZKFRhWztU8RwHQe4ukLWCBw8G4jkVam+QzIPAxw2OkKgPkk0G56eFoSsmQsPgWv0ooygngFn5Q5zT/AgcXjQwMUTnRXKJbvKJrZJs4HriKoRwlKvKcN2BmqVzYXxF8q93vxD+MVo1tjiAu2JY4S8TDoJNACZbhpD8m6a6Ir55wt2kXqyJ1g47Ouh/lv0cPl3lE+KBXivEbW8KC3UqRLehsve1tkpePlmz3Yg1v2e4vbKlTvH18UwJeE/mT2dp0syA7fYjyN8yWENkZXuhZQapI/eRsB4yw7lNVa336PkKYYbkfWAt9EK5BVGIl8h1WyFhjV7h/5abmFoeFlmfoeccuZm1XSb6TPr/Hjoycvs4WI7Qpl/Da4EvCTVrKPK9CHNc7OqjoFM1Cz9E93ehvjdtjXIi/qAS11x/PfQ2iogWbddpFL5MAVUr33DWaOCPCyv538kD9vaqX7+2H659m+kJdJe+RpLgnAo17u7RxzmMEMgxOERwROd6NMOb/jkYCOzl+/uBCR8jc2OTZr2lueHyUIO4oF4l2MBCgT6aX5owx57BBpQ6R1Ci8D0vZszD9U0JHkgi+k0xfvq4xd2tddWPlA/ocSFd+6JgGlTNMFJWlvKZHGaKClwMg+plxFgifycOybGCmGNrrQLBKZwe/Iq64Wbosjt0jynj+W72amBrYjZ491HYOJFwtYIzEXVOP86rjnziDFHgW6wn43qH+uuqTnD8r4sLf1QITk8H1lbJ5JcasMe9z6JP9QRc7xLqtCAMK+S0xDksc0GcHT1cYHODI7umluuHEQVb1lvMBtYI5MbLpzGWg3swCs+CL+dB2goQBG6XyHE2Ix+SuJX4caEPRMogRNuLS/ecHd9tbNrK64w3e9XeNnii7DGBkSg4BsFa70O9NA+KKpEdkDkSbyyraQr8Z3ae4H48yPe3bVKP+/DdYeLejHjgd3qZqwiTXIhYEfhA5Ks7h9KDptbON12+Q6VOAzKbNsPNw71W1EYzzCRybaR64colD52eYkNNIwM7t1Nz5HXiZF66F+rASEk70vw42geLeh8dLf8sFhStswWzyjRLyZYtstn4joNy9PaMTeGbBZGIquV01S5r0TRhXyT19M5BKLCI8rpizFmyL2R9/LEFRnRCZMBkL5Y3RU9LfjB8wXSxT7RXYKzYQFMNrlO6oNNWl8kvnzFLrJsFmtycdadmok7A0c6dV3Vx3OuJRo77Lrz2hoWayZhGMGf+ghW/Y9T+qUV6/NVhwZ02woDrgIAX8wCpyqnvwjqeekT82ZPYFbX8aHD/vyv+ZsV1JST+bYBYY/LaZm+vU+7BNazMyFu1LYpX1Nee2h0kLZzBb4qO0JHB5vJPiO0BZvmrzQGPNdvvSG8JlyRpVaxNOJAgVDOhUEcXKhdC/IbReg6xIKq43WjWu6FsbMwJtgcJrx2dKOBQkxvTfge8SGgzr9vb1T67JK3kdqaBfB3GQqSlFGvJqqMho01/UVap6koSFmI4cn6bEEMCvGLRBjobNGe3xX8lvzgySN5D6mi7OCtHbjLE6aXxEFJyOdsj4h1FDA8fJayPWgVVZdyboWw881ic003bh7adVec6YQNqvAbqSGyR82ZauUEPve1YDQLo8etsA9nZMkaLe0BpFJxn+ml20PgOIe/n1fU3Tu12voS0/lGgv2xE8mexozCP+Wq6r2jkxB9JAowr1zwXUQUXYaUtQNB0iQffqM+Ewf2IFF3ymEGHG+ypDGRbQIEwqnI81cD2g/Ktsi0MW6b9zm4BEB1xYodCo/OH8poRMDjhlI1Z+eVLRO9AtPPKm9QgvWMj/B210sDpOeaDhTWOad0npSHgE/D7+H+BIzA8kAx1qluyFKZR5x29oLgcwvYeA3w8cLI/4RC6Ib2thfaNM6V3rGZ0goz31G8ekGRiv+8Ik6kKPlgHGfbztynQY4AWElMzExkzUkKj/C9mSE5ED5LxV/sy4Lp0rXN6xZLdnreX1GCBYcIK5BcaTcHzwYGcqjzH61L8WRow4AyMN6Dmt1DRvI58C4GoQkR4usVuV0dXaPJ4EGpM5V0t77Qk+8scEgaQELeM4zSSsqSxcIB6E5ibdJiGn3trRpFD0eYgmZOZpTOnOzGG8Aw0X5SAks4P+HB/gu3tqNOIr6tBjYXalkJfZHUigq1h2KaNTPSRthQFZskBXyqNed6rl9gCEke0QZL+x7iMaeN+pYA1KXUxgUOKx2fRrBwdqvs7zkPEMctnGh5b3CCUsWToLwoOi/vStvFwIEis0QaLJsXgCiXPM9LozNLIf63ft+NpHZDqwp0EjLa0aeDkccuIIl7vWts40Ojymx5h+GkA+FFnLX+CtmnkMNcUbgzsnHm4pCub4/fFg4FIUR20uecnpW2HjgDAjnqyhOn3m4o9ilrspWQNIZEqVE30dzNMV1VMEu1LzD/npWolROIJih3MlPovMkzlLNkBcnj3BbMpVbviGAFBTZbjnS1HQdBdyEg4k8Kl4cIR5y1gRl4/gOmHmazkgiVbibb0qx66F9X9nsgTy3y0obNlJGkcbFjiP4+99ynb1//9tqRCOqJSEo/Dka1kaz+ALC//b9pwsiIJs4DSQp8+jO1QaLYecUes1asxB82v5dt6Vq0NxdUs7NS2Oo+sPwqLH+PYPaokTnqXJ3Dsqw3ulYZjChg844LhzYK/vsDKzb/Z4TXS4NbjsJ3hpNqgFisiDNxsXXtYF3WLjIfrCE1Hucmy8LZoxI5+/AxUQ1+soQZmK9ZGeeDMl7df6mx3byHVcJqHxkmLvu8TPMEqn9pCo75oIqVjMkD/8ZfTya+CMJuo/ZM87TAh+amtBbbpieWrGgogV8hz1TaymM3d2OeZhgjJqaNI37e/vzxrwaIXov6xxJ6lADytl+ZAg5Fx/VVsOwfvkug+zIZDgoVi0eRTLRLhcZ00eI4+uakTFQDzTfgFwi1n2bFTr1X8TKFfsYeDBYADDYpC1kBfCQ2efxKh2sAfIKiBqN6m5MqDRSxJ3M43LC9S6pFKsC0XIeEX59rlHdXxsevTCe4v1HO01AZvjQgixUcH4qsAgJR9M8AqkXJHCBJh1udjGjiXqAAPB3jHd8y9DmJV7cQP+10cqXYCLfQfT+UMqOn3Sj7IB2W2TGEItLVUKQkDzmNrdmhdpAlqeNlfGsmXO0IAgDstIIUvsMB/EHoBt73xh+upSEKFoCN04RPb4HCvoX75D+bPTJXocUDXDeeWSBndEomq6sAb6DRhx/o9vtF7BvOWAKhPJs1IBjQSAMroSwwrd5x3phPOiFmhfUj0K4nb+/q6H3oT/3+ghglco6TpOGR6Vb2qL6G+MUYLz8ivApXpatUSlhwgwkQ1ODF/ZA8TVKzeKwJuhzdDBcWolajkrVJN3v99/rF4i1ezp1jQZHzeyR8zL2p2C4q8uXXK0tzwHfb8KMX69njn0wu1V7Q9N4AsRLrSjs6zR/LjzmcjdywMsSm+nquenUyhtk8pH8TYc0bg1FK7E0hZItCD6CGbhYbW9LAHlPNHvPJRz0HupFXilda14O37AaqxXHaJb6+kKsA+/YAbL7GhbE0hawj6bW5FZTJ8OVVL+8O0pVJPUw05bePhaqbrBgqKgMSdxp9qtXZrK6eBQuiYmmiWA4wTMPGLeNfvpcL2+8WUOxi9B//a5+Yumyyen0GJzBt3BvSQ7GTst83g12qXlotBAoxBaaxzbIrHWnBSGMD5/2mxFnEVr18Ddv3LL/cLVe3e7YNJXq9XZ/k9GAsNpnsowadSL1W8WDpiHA3OQGxSe/UOMIY66ZbncaJDiEBEdtdxFn/VUX3jT4AgdKiXLNPmP52r5BoqzdeFsI7gJM8YxzQdon6jHjWE4954249kvNtxGNmBXvlDtI18w9CDP27Ng37l/JwHwxcgeE8w9MIOvbey7pXT3PjMkM4yc+/NDC3PeKjcn33sc7m2gB8mxxpNcoA6Qc8B3yaPkFa8H62AK9RlA+wyXrrEvuvNbbjuVX79x9jt1iljgdthDDppzZdO6Zr3M3C+ylhwqbViOjIDtQ9snJbaUyHn2VruFeo7suAbiBCxyYDjDtwbZJOj5pT88KuHdqKWPUiYNlcR2bJNVfa3EQXBOOxXKp7N5uVqTE5t0dOdmuqwWPvqRh2vgLJ2JKjn2y6PHLyVhsSqCXzI8uov7yNOFxBmyXjg1n0sYGHTpgQj0hAUpCnZPZ5y/GseeMkj1QfTagOsEZWw9f0mAXcUAdNWZCoW5+1xnjXdiybDdR8y9IXwX+qGab3UJXUCTrMZW5zTy3cEsGE35homMnRwlw5ocEm6lICo4uqX9mYUxO+DVNtzm4tdfbGAHdSN44n8CVPDuKh34hwgzAxy1OideosxhKLI2UYibrq3oBbdaaYkL57wTxC0VLri8pRhH7fd3QO60glf23YPBq+FODdY+INiJOlAOtn/NdXCgpiqAZIiiw7DysP1swGOA5peli/855IbcQaYBTrpd4gJ3QjeIAiWlF4+Hn2lqFzpwapVqgwmOfL88KjY+C14Ysq+oS84KzVYDreB6oIcy58GSZY/l3Vo/5IWWbvlMvTcjqJl5OolgoS+zlnVFZRUbQHU+lntLw1euHke9z6Preq4Ajj+YLGQ/qtCLUnaeVEs7sRa4fitPeIGSIpVJ2A2rtu2nBJPkTt4/jnRddqofVzdx86QrDMpj8arrLEULQBpwH6uZskSAHyGFqpQpZt8yH473YfvCCpF4zi+Bb5dikJZnkFahYAJRHXgiOT2G2VkQdA/g6m2C15Gupwg0xAA1tqedqminN3eS7ZN+kh+je+pW2YQKzybqcprgPV/bnIxUSuFlzuhg+rtiVT5kTTPwlkVjDNrYOgZiTOPna/NXcz8lBnEvX1iNJT5cKZ9Dg+dn00/jI58IlSwf2LW5lZDJoUgehUJCtA3Ymb22Y4aKF3/k2LBeTqDVkuP9KZx2U5jGhUaFK59BI8XZOF9sjAEdTiusoKYZwWhuEcdtajT613cHatbdEeGwEdNEV8L/p70/sq+sb8FM8b14hfAcESd0GBaSya1uyweCX+5e3K5wZrpp6Lu5QURXASP7AIKB5LAbVvmSjrxwHmaEVsrp35vwA8cRr4bYQIMJuIZHMwmlIu8/IZuZPIOJWK3aoEhzk4Zt3sXsHN9Qahcv37yu4nTJCtD3GUC9Yhe9SgePzUCRDBsoKbzQEXaQ2T72o9DI3UfLMtHOqvHFd5tRhBt/n6cl2SOZBtgNRjqc6CtkygDnS+Q7ofmHimuiAEjkqRGhbObCPSkLe7LKPsPTvTashQqh0i0S6OgoIqnaxrc9psNDL0+kh22GcDEAzg9D5MspkOph6aV+CqqaCanRZwo2rzI/N4PvpnGT7w7wflEM8RMHKeF9xC03Ozy79K8odsPJzAztd2HL4ggrNQUCueNoTBOvvrn0SexfyMTpqU3YljYYRDiDdr0SLAR8KBfvQUutQzEsjN8eMcwwgUtqDWmUURwjHUE93HZy2ROKQilXyvg6kB2GH2TgQ8jeLDvI42JvOA71t2z/aK/QXK4t0jFpNjHLTZlQMw8qnxTHyL77Jlk4nqrFj/Iesb8dprhjPviCNmNsH/xnkQ1y8bav51Na31hViL13itoeeO6xduVoBkdAzD35tkzDsBUYwzF/O2AWl+XuLWI/3IMeYw4MO7DUmadhbeS6VGkuuhjRZFJT5HTSBwoHnc+HYtFauOlDrFIjirmo0NPhhj2+8HmQsOOrH1B2Jd+xP98RySuZP6q5/Ve9fEFONB0lVIKKp9Qa+cj+kKNBAVX3eblXll4B8BxWFRkah0VuCyxSyTfDPNbHUwgDoGnZ6Sdytghi24r6ddqNrQV7xyr3N8tJjt3WFi6LEh4L14d+gzPBA+28625xlMyvwkvLI4uMlOx+n5gf6qocAY+KslbSyLVLLocjSoGgRVQGmBYBA8/9PED/XJMdv+GqULukK1WANKfMckJRvmO1V5JljGe49eANrRwMbkM7hxOWuAtP1zKuAtcDYw+37PbiHfpuXEKFcWXFrXNa2yOtE+ioIq3aS4nENmKuDLnxCoK+JU/y1vx2eqHIDi4YzEbCCb7Tc+uwqEC76JNj7Q6oMWKZt+5huMne3CcQ5YJLA24mlCgEl8q/RUAE43pabm3ADa2Se9LQKMOcSnmLT/+XqKSoaRGuFpdHE3EQWGTQR0EKFVLc5rPIQ8dw/4qrTVJzWEwg01gJqO6P/SCaM4GHOYi1LpKhIbnEc/ZLyEwU/zoBrAL0mJEx35bi+scfL9IKCLWv3JCnkI8RRQJQ98+Iky1gD45jupI96M18dh5m6x/Cm3/EMoAt2hIXzsFzJzBopjD+hY6ZwJX1wnFjXf1C1nsuBv/1JEppn4PmuZiixxYCX1PFw6z581RlyWAv5yI1I5gSPG2RKwMg42E6hGVw9HQbZQSUYzocXE8xk82UZgRf2vPk97tTJuVi5MVMPQ8oqx31wGHmtswjIZtXGOONdfydzNfDVxm5DQKq2v3UDvv+/73kBw2j0FWvdQgKSKMDKwnwdobF/QYgIHtVwB/v2M1lsUzE5UyxJ5pKUwvYgFLuKQLTiOEtk9T0F12co56puq6rmTj14VksMQ7CT601evYdKOExwGpabnhybhpF8/Hhp8FaxdhxMjK+Pvb/cGZ9F8WlLWUGO/x1utSQHkk3t+WUeDF9GHWWaIsnkDt9k0c4FeMYtTexFiOFy7kKJTamQzlPWvsYNe82QPfR+ERvPZJWCRdF7cWrFf3eS2yRJ6NYKE6PDvgOd3bJPI+2yxitd+8SeiOQeKZT+HGBI/T2AxZSylGoCn4cJa5/sz87a+4le9Me9SdQFifqoD5tq0wdaGwm5i+TnIDmM1J3xA68eEamDpezX6mX/keRTl7CP3HYe9QwJSwk6rfdrKy0igg1gXrFWfBRPRgF4gFUuUVrz/+rvJzHVUO9VStblw6q/3lld9hO8WiACYxN91K6dw16Tk6MqmJec7VBnI1i1cZQkWhoHMCOMhvgbUImW+kKm0EnjTcl9/VhlUEiCCu3G0gtpkUet+RdWlDMS9MFS/7Vw8OGGcDB8jsYz/d9DelsJNDcvsgMZiWA3dEL3fDvYOtuoK+OwXckFQpvZALEUEgPNllMlutKZAMuer4yWTun/zMrNgSWx9FNVI0w38eI6FdGdietvnt5wj6U7EqEg/C1HHIZ4JUnsVQeFQiR3ocbbsgof4wnHYuBLpJ/FiUklN9DTm6SJnmvNKgX3ycG7lGBd5uQJWE0z9iYEdaRw9A5rIqNUlHlPZ2J9PzFbo9R+x4Jwc0LxnIsTLL1xO4fX1HaTe25hpN4vsJQD0jsJT5gpW2eDXxyx30wY6VjRdaPU81TwB6vx85a58csJ46ToR/dxVGIruSLcY0ks9YJM9D5IR0QSCidP9ZqBzlNIBSvGpwOPgMGvJJWwArUiZt8VO25wVSqoPif3x5WH1GMf4PARlUQu1DSzgjG1DXnNEpJcwb6zSqGhY9xiuOpjbme/DlQmrFmWljuZ8+8NmIEaMWRO1t7NTLkeG6/cMh8XjvCupxCA6HQWgHMieN54PBq+ChWLZO+zh4ZfkEfR+rBAdKrxW8XrMPHEQNZdKpJl0g88s0xBfmoqFmYLUO7qrcln61/u6f862PpTGx6DZcArTOfGNoxNKKdAHGYtZW+QoBv5C7rc8ol1OsXz/hbNrDGu303uIwvJ6DMlZnNdrY6PIsz5NKCki61tnx7MTqVMusGv7XLtoOfF4D6NdeWya2SxHDe9JAFVh5VDFpWUE3GWEKEM5imUXP2CM+tyVtKLDH7/xdTkpZezQem6fg4e4Ua/BSFTjrx7unQFuX4/LLMejG1LzDGgYnp/rdxfraFn/M4Io3GBqRaqefB0w2GeS97RmFunac3GhocEx9CbWj4PtqL18wBOuVEhrBhdNNGOi5tLsPgii3AeyZts1LkBqEEqB1NgL+FBphPdIMAPC/Cd7yYBdb5axEnMO8hWV7M1DfjVhaMDhPd/BuQOpbNOYfsVLIR2XG8os7ArEOlS5y20vGcOESFyvNu9TBCmNyxinS3KLWH6aWz9TQjC36MSVCrxW449moNxHIoXB1kPL55+YtncaeR/ByAtjExYoNo/wFi91Vob+wviqBbdeIDYU48d79Q+qNAuw3WB5Ssrzi4N15S7/X+7Vqky6BQllVw3C5QEoiAlxlW2rQ544tMw+s//PKZ1KoGUxCjNYlLUsssFrphItDZTgIc4c5oN233NNRh2jAx4uq7JKRzDCnZGwBIsRVasCRamQNx0D2a78au2FBI6Ys6eUE+BP1YIUN7BAC3uOsI+QCGGFkYQ3Udkzci619+xsxC73G75SYU8S72LiDQ8Uh1CN0SMFRla8lSYed0JkGKRE6E++TQQljjZLn+1eaZkeWzvo7yIp34ooA5reCSty71wrq77gZ9h5AcLxqgsmoxDnTo/fO20Zix9t6RsFngmrRcNCGIvMoakpBzPcfowVWS1pwC5AdX9K/l7n9ZW/uzGqssA8aP0w+zXi5I22aN6bTnDU2WhnPCJfllmZ7+mxmst9JkHRo1HGuJ20J8AkAZHrdqNXII7E4/sD60UroEiy9Ry22lbWUvRDABgyN8LnrkIJdsqWwBHhGoEP7Gwlm8pVhqU7VLJ9tPh6/X5ADrD9Bs32CU81ux7ig6Qy2y+ieA4q9LiZlKWYiiLtF8ZvaDgiEAYEaaKXBTwzGLfgJaSnYohp7HX7bQlZcpkxdHv7dSlKuWp4EWPcvS04I/ps7cY2pssTBbaoJlnP0VG8AnlxG27R6wx3RjzbIh+DfoZiP0DzD+5Ypy/cX7+tQC1PG4+8GCWxVrWzRPdXceGgKfB75lposUR5nrEilVzMAZ+1Qkgsk2NNxwRUGwxqRRVLLFhPBMMbnQFkvvoag05Nj7Rwz2goH1q/IXnv6tTYagQDRfucTma3nTPv/riwAg+pNoxAm4ssXy8pGEtXE7uB8gWtaj3G4CKZYbzvw+USEJ8ajxGMjm73gnSywsNcHN95UrqQ1bLmqi0pHH4vnMPOCNKcUwYtQuSjs9pJGAv+ygeXT4/Ix/IIYxP7ryrW0wbLoK0U21RsDWlsi8IwIWNf59Uo+BV8fa921JUirD+n+gtGjXybeHGJ3niB4nn09TDZCxo3ITFxk6nNHTu8wOH17j+G+0Mh+BbsKsYdo0caz/JMsoiFC3g7DmRSEfW2U+FLXIZSwRkzSFX6uhWnb8/S0kAqWJcztbOLNEbZcONT5dv6fYQkkXzhxK2padJJRt2YImmQGr+qR05My7cVwOUCHrwi7wo/mWViTfpAMeBTQ9gDfMILwS0YQAVIi8zXrNmZhO972TT22Znqao2bSHzAzPgCUmfIP7NuVRvSOj+iQBhshWCwi8rl4TYsQ3Yn1N9XUTouA1LIheA2lWWRwxQwKIjJxun9L9Zp7Q9RTZLY+QPBXZ6QMbMYWgGE5lAeH2B/09+Un+caDo0kf0RShcgFN2mQgB784MZmQxlNv+YJjnTCXni38aRaO2OoFaOdItGvmVRpUB85cS74R0ND6VpzDjfQTwn2ijUIJw23neMCG6ARMLx2RohHTt8oKFC9oWG6zJSGjMyyIFkBhL7y6ySrt0Ycdlw7jR2+kne8MEWeBxd5CEeRlXFm9Zmzxt9HswNfW8dg4y7WVnbC0bcSv2UQzkD28VznHi3mBr3h/fY+CcpcI2Hv0uRIFcOE0iXTQiT7BWGlWh2ZPNkFELJxO8KDIAy3/W9bNxEc7MyJ9DRPr8q8eYInTkHwCBKUnKhbnj4N7G8FcMXLIDiA88xnxHAS/4wDqToOw60kwguTE69kC0216ZdtMniHUJXQ6aT3Lp0A0GmnsDTNcn6QuB0sdIPpLKjM5KFG1klYr8bS9qhUxQUZxwfz2L4+RUk4UsZT3sFJrR1ORNF0nvgwqMO+yPFnq3irXnvSAoxmtiOBLLmt5Jmo61EB3YB7/dks0IIKthD4P3cPgf3UNBFZVsdX8/LUdAvrmIpuF6QGTpkNuWbfGv0c8PhTDL3WL94uyhT6JwDmSUi2ihfl2QwRcF+otVba/MncOQJx43B0S0iOCrBeHmZPMO0cyRhHsKvW9jnsM2ZBAkcRSILqw0g5do1vL3WAlapXF9W7T7lI81iBD+FgUZBC0+KYSBMiYpD3v5A0v3GLJk8fiTgQpHERMhXPtHjyCoNv0wH6niB1WFPPVJay5ZWpxaYDylDP3qHU4LVzIIUBQPRrrL+ZwCyQqhi1mF8CYEd8A0qBH2xbMk0Q9N3TPONwJ5ZwOZ7Uj1gRL0aackHibOrBFTcvhLMVfpnWsFxaC0GOeJy2cIbnmY/36acalqZS7v+UMuoHBJrjAdNq3jzTtgq/Ag/0Y6OqGPHoSPFMPcC9DjcdXppS2WahXEOx4odaf4O4llR2ZuUVqsmYMe8it1XeTP3yAQYdpib2G8b8kkAUDjwEllAzjeklnDivJjumJdcwJJMRdMZyoBvAcN7wN/O7pm60STdcv4ZiRsQYy5Y7W9MFzSZx3PpTehZlrRaiodMY6t6J489o0NDE9Ir2kd1gNuaHUkju9N7yFowXJtP+ZrBlYh8AF1BDPSIcU3z652hCZXT94w0sfESRxgBId5IUrWf7Ibvc1MWIz6+pJKnJOImDxGdGaM9lkX0jkIgweZOnC6TqD4T2IPqeMyg+8Rq3EzeLPIdzxgRWBI8y24hc6nx01qlrneeYlvAAjvdg8r7O1H5QpvYDQ1YEcRv/hOgNhFfinsthtB2o9wUTDja04vMoOzQPEf2++69AZT/Z7blPavh/NcbtGWQJ4roSmiObXEFUti3p+avmmtxwRtmL/Z6lQbLcFURWvOF6rxhLRJqrQfxjK+ye/pG25r2uVWqBNEBfezTd7Y4nI1b45V7kovUDDSGFb/iQKTeMfi1PtqvG6TvuHHkiUIz5EF2LWuAE+CL3CKz2XwOnaQCAraqP13Em2gGWu7Na2lIQEAWRDkTjW15A4TtfmCyq+vtFd2KXgdTW7BXzxvUiPrwlJoDymjvo/oYlQYJ65FxEYIwLeTu8N2zg6Fb7RU5xeSqbwatVE8m8Iao/B22VT8IzQRtL9Qhpkl97iD7k56oZ6pPW2gNCK/jqD4iTJctbZ13GXGV7iPwW66NYJUwq7vRXv0JVrL2kMRW5zzAPA4c6WNnnRI1E/zZycawFFvoHl9BUCHqP29R+NbahxggOokw10/a+uYdf505arZdVtvig9V+iPz656NuKwRpPYAa/rL9LQexvdTw+eEletfQUG2/g9s5PlPfmmYRxyNxcrxOwGcG7kALm4uf+5r6pt7ltfpCGxlxFXe1GZRCsUZpCZrRU2Unqaco1QcGt8paxnJ/FZ4NCjfEIG3MIzyL27r1n0ZqdC5hy351vKreotVMN/bnJzxgy3bvoLc9WbScWON2LrFLIeFDCsiCupRXKroxibQPo2py9rKiOu7LsmjZ0CA9wMn9koBVvpr89BaMwLG8VS+XjIler07HjhWvAPgyHGWFMq5c2llXUTTeuUOlHRpRG/qbLPp0YCv+lhCLjo3nnyHmD4s418Kae0zPVp/Nf5UW5XSRdNV6czKuwO37fmehQwM5vlnan0FrfOYcIeTxn3kCOtNC0htH0MfBuyWixRRw0m8qRaJuIGEFAhxbYp68OCFW2A4USglZga95BLOJjYMkn8EgkmtfwhMBF1W8Trro9ugSlaPobKUz3bs/YH4svUzybyVpTIx561dWgBdHAC2jvQWjkdhvIYd1TYm8oCLcN+w2aGEa9reiF5AU6zNER7eGPEuB62dJN/qNmnAhuNnPIafqrfoeYn5YhKCR9JD+qvOPGWt2Jpj/ppT+h9Qd+ljHJKEX4pEb39yiBDxAaVk1JxHqXoTDdf6LJzdLjuQX6HXlg4RI+goMoUTBSGWOF4KLRjxyHH23bx+bqR5lGdZaVpVQB2/cd58RxS0Ukm52ExEhkzRXR0W1AC1gTBvbKbX92BP5YaNI6uRwuHuP1YoWk4DTz4wNv/yxpdyFwv57orIeY9DV3JB/LPjKZhYRQEYaaKFMRzYe/W/ldQHV7uZZM2Hx9RD3ixCstHHVetq2pw3F601poY6gUzSnPN2A/VCgK2bcv85Va1QMtphc0p6DM28FQ15F+D8YPV1k50hxyjnraXmFEBTTQH1ilHmx6XcY4uZlu60X4VZD8irrs902EEQhrE2hUBEeNi9V9xj6keL5yvVVNbw8Kr3Bf2QUzeBPNxUSQK3nJ4qwaRISj8LsMx8HAbHDtAerBlhlZWT7j5vtPCIQg96qxuVo5QPROwejyxfahNcs4D9Gcx7tQoGZPSV9eGhztwbpHmh3ukgvVsXaHAujra6t8246Kv/Zjj6lgLNLSX+vrfVML2fCesuqpr/1D1v3pMngEHG9UI+DSR1toWFI607ucI22/zM7505QU2RokONs/cCHHtLXa2leKoLD2qchXoSA/Idwh95uJPxusLxzBedaV2QzJq8LKHtErQZokPPPZeZjzhcyDdbSgltvFpy8ny42xzoSI7YcyPC1KUOiHpjNNXF4GI2O5pUkR0EouXYoc9DycUypAAQSpXVh1HkcJqF/OUdFqP2/JX9+3wygpaqZng2TBexfJX502geFLcjgqb8JodfWZZJumI72+gcd7OJrLGAh6MEYd+4hLuxvEKv/ATXZtMnQji2l0RKl0+v+7li6kLzRBTpHGGjmxFTtgn59+q+OnvHqE1VD24dUpHH7bao8gNwAiOWlsmHoRJXiYIdGejM7av2EvVdppHWK5nZ2HH/4jzbii74Z6WP9FCnz2/gUSBTTPsO0v9PpdXzLpvKryTGq3582jUK0pSuVTL8Ye6e85xCYpxEBRjrKnVl+A4mSS1iWF9k2+CDcWlkEmCIW1bW8hIGSlYl7nnZ/xvI9OxgiEd9hop3/y9N+9mM8tEaYvJ5NjQUR4faJZ2+7TnGraGL8Rsnj2UjO7S4WZKmE70BtOaqD10ww+NVV72OWr3JW6BzgjK6txpCfppCwEWqFxc3JvcVPUuo3C+bJqHnt/Bg3Hzw7MmxHVMAlRsy0zJjFepYOmac9S1fd8Ovc4HU0CE1gSeApm27I22NAqIM48TNMN8fgS4PQ/Te4ZH/iuQqhrGO9s2XvH4wW0wetX6azXpCu0rnaumRLe5QUP1+quCZeLzbN5soxxbAohqvC60IWovaBJe1yY+jDOFC3W2L1+ZmePmJ4oKj8yWpIhhM5sfvFancg1yl/scrJdtjp/wjmlfolUFf5ZBqzbTr6EMfnPECDg5IRfg9wCeq/Z4oMRfs2gLeV9VOU0qyaASLP376DBl7tYiybYFbDweob5rpCHf+Jv1tcRF1L+ZIhsd/9UinMqGEPscx1ChsJX9ZU09SAl6IKk0Pu7AYQmHdmJy3dp8UKcIy26YhZLBwIWQNODtER9h86OLz86zuOf4S8b52rYKjJkeoQ24THM/Gqa55KKKgtC5VRM9ujJb5JVVVQNTu4ZS54tCAMVBJt5JvkZoyDzxPgFEEusmwEn9UfEC7iq+/tktkaMn9Vl9/C2hN+sQYxeOWYpcafQEMMrzXurg0kRfST7CG4jgXFsXbTUJsqWR4DegiqsyOR7AhqbHRS9nBdbwMaOgA+4up6FwmFaO52YxyMmS6CH/G0hWwLg+Sb91BkJbeOW2L+r4+pBjHosfIjZZ62bddA8dssaRZ7bbxS9YB3LXgfapvPRADGTOY0JMD8SfQJLyTWaAfzWdhiVoLyS0LTkt68EE6E0Wnj0jwP0M9npguSCfbwlJX208/KkWV0NTlN0/hyLsHTlpojiikyaQZf6wmOnvSgVcr2SqQkwNQ9y+BYwNsUs5LDKAXOFypBIBARB95iOL6Cj/gp07j8imGJGK0oVmhQw/VhuKSeIwIizs9QwOC4L5Ga/U4dxGiq146SeZKnkfu3I0+FPB42g2Ylf7NblonR9q/ez2xgz3p5uLmkJy2/h9VB3dFmkOMoPnTJAisORUuyvoSgzMQgH3CFUNKkQ67jKXjF+EoZf++2PuBmfgd6tg4xsOqFj91EWRhlDRJY1fkDRUu+jehZi8kRWWg+NkhqWe+O2XrIu1a62y7ApIlwcfvtvW5T6BJ1cKNy0U/v3/6LsLhATYBBjb1t7e46Hzo59g+EaWtwR296t1ZtgnMPz2I0fAl8BunzZgykXddiAHN0NX0M1NjlYifz3nWZL1FcahHRPvY7ms5IXjPLhcd6TP4L5TVy1d6epnvRqnhrgj6WfwFULg2BUIiE4elpdanZzYtmpXeW0HFcc1qddKShtv+PYuiIveaeu+V4ANjWN6bW9gyVBUac08Dc4lBDai4LRS6OkXSxYLvE1mbmqg9XZydEyEVXaqxrb5CRy3xMXedsZZ2ntgC8yMA35+mahmPp09kTC8nAcARHCJJ6K4MgcKa93smNYSRZsBW4cbsFvmp29ViJtpvcg9u8AVcB5GhlDNNWwJHtJu9Exd6HIBqn0wiLS6EWIM5YnoUov9eh95UKuroCCG+obbIEnQgmZyZKM03Cesk6qEYbBejboSkgiMGi+VcNAtAsXPtyJlx9iQYIs/j7Ga+Om0pjIwF+3mYo3KA2DtyD4IoRSfGif5KGS0EHkD2Bjr8kql8+hC9/Tehe5nxa0tRP3sY2UNJ0VllHYLKzCAYkA4vJL+OgSzqsgHb8foVDNAAcmiPlzuP6Qi6z0laA1JuIcfYoG5qSU9E+4CYzbvuLZq9OjFagjZdKOMpoMTV1Mm+mMX0/sF5jGVmpKriLeC2ILNgTMyCLgvi0FUbYduChPlTqBr3oQXPwOs28g5f2Omk+xCSoEGZmKIGPEtX1mAPQ7roumjCfHIGguKHRFT8I8hCTI1qXZ36Bb6ecKDzUzj72U833rIMzkuD6bvDbt6uHiqx2NEZk9Xrc7RLDLUO3wZSXGuuqaiW3Sp34Dpa6ldP6zauxCW4P0JNIMuVQ65IUvcYiPGBqY9svejSYBmiAZcWNs98QhMdPHpEoGE4SosHmvVLKgXt3+Wqm1i1IIGw4Ieihkk+uDFMezxpr8h/XsxAeKERCiPNbXPRHXeJddojAZZp/eM7uC+iBz5DjR5g1LEU+UECIwEbM+6ZCujVIkz5GcLBbEx4hjzougQRnXjw7hHS+b3dM2g9YRITrWzjiq/86+CBzm+8obuxGZpAejP65Kt4WP+ZNR3Dlk5cTyrwiy/k0VDS9+0IqHT0L9pS05epFlFYNLRZxmrINhQ6ZM4b6HTnzfAzPhyv8i38KYSVjVnDA20Qy3QELWt8xC6IH8UbGzniGFkY5QilaXeC+VgKgkIYx7S2PrmkS52Bwyp3MqYJvWamGRgqo2YLC0bgHBJQhX70GTttLxf51j6C98G5SJtz83T6IDRVNSk0EXEzLCASdkZ8FU05KpUBTfYJWyJT3jDngHwP3ZjkCwjBo6xmu5tcAzUNrhGcATeH2ayFrPOWLs1rxMrtjEtA8R7nVtXqymN8DTcPMOtWoD7Lb8JBfm4aamJEy5Mgeg3BM+ULIpozjw6YNKrIa1G/SnDRy16UUJkcy8rmlkHKf5e+U+zth/DTKuOxkTnmGIRnfZmH/f+uhV1K6ARVnylQQzgLs3GijFYzJrsBiHlGaMbjvdEfyx4VXhC/qb2DJ26bV24hkTvEkqZ+4nqc3+An/6RPDYOYDOIP3SU3gdrTbNiMW0utbiMPCIfM0i/dNjhT/6ptxkkeNU0Bt6FJZUs+yL+OipWFqvW74PiTU2CrXC06ETBTa/bA/67SGE81QA7TMEC3yZhwgD3GVbUMp+c7oMmxFECQMcCXFOjjynTX0TMq+UWQos3CUNX66kZ3ziIoQnwWvgMo6fB6l2SB8J/CrHlHKWTl3bbG8XxJImCWxUFhr4RAV7TUdcORFiUCWf+4w3dNCQ3VKWBG+AitxR++zMPNuCIl/Vl61xRS/l8kEB7TasmtIm0H8HNVMJdXUL5q6+47VjlnPi/5PhMc4UX4AC2FSiAzB8bhDm4IeaN6KY1tDndb9OUPUhEvBgmIJxOMCnR4QR6MORPrlip7brjys4w/wErVO7z0GhuhQ0y5lclncAR5MIZ6DtZAbZzhHfyE2mABjJF9p2fXTIpkDOrgQZnwNNonZCXWhplYoYm+0ubM6DxkjjTY8LVz/fb4Vyw3TeEv3kkNvrQolu4rwkYNY1bQJEJ4khhh73BpWkJmPFAtOcnwO28FwnudkXSE7WeL9KQ8bFIR0Rca1JvPOHk/FcgQrD8ZbBLMt0tPCcIgiS2waLMdyUM/wvo74Z0+imBM6nc7WiXny5ZeBOuRp7uEfDESRx0URAEUFj+odhBuwETyabFxuXg0zEJvgQ0kPszdvRyeF+KSQOMhmB7mMKdgNv0vby7HHo7Nwy3Gj+Qpol3DRZNoYqqfgyR/4DUAzgneBn/QGio16Qfe68QUQf3RadK+1BVqmdD9bM62nKl5UBegJ/LizZk232jos0pUch796tZlqfbRojha4fH52huFG2EYAKwiTlWXTzzJuZ5mZN/Dw9xcENnhThA9Ius02oLZhJih96kLGmuwi5TVx/b15iubU1HftStxVO5l4gOcAyYhxqKmJjIMbUFN1XIHIjG9p9QWDp9278EFpZRq7Gf+xgVqnemqXuEq08j/TJC+tJta64ENZFE+pFfQeyhGiK3+7+j1cDTT3sKwawVGvCmB8UxVvaAnNfH6mNuNB9QRWnpSTbtumSjQds/zPvjEIMtViiu3kXkXQLt02I6u/l3S1W7iUWtEA9U2tfeAlNgLU1lIQ+8OWALBFTHbwy/s9NjkRezTDn5IZPoc9Zf68+A3QEZz3V6vYTWNlyTZM/oQXLmEwpfFbMccjxgst44FEqHuxvfkkpS0ozeVI6p9PjdDkRNFJaP15chdsq+B6XXvOz9nSg/SEKEFqQuroCGwhMJNK59oljARuBEjgtZdUWYes/0JFtyP5lZSGKcbDrVmFHTxlcKeQr4DAJi+ghQ2TQKYgx3Dg0vpmkuesX6KK8lvapJ7QoAUOzW8qU5Pt9icoaWtHRLBkpMfT41pphHZiFLwgXHDdjdPBpyQ9YiFgUoTBI/rrGDDlQx+CiTiOvaDSjHgZgq8w5kSbSZGFiYZi8PGz5MDlvkvuLbdOEGpTM23SRBIuVGV1LggfhatdX6A5TXEevkmx/QKH4lO0CwZtBhHalp4qCER3HvbrydE41XnAkIIz8Dok1C5jHBFJErnNmX/eIiGDd15I3/AAtTZqIe3LYZN20/572fL6luMGn5EvbOeKRhRoomMY7zEFesH0HxBRfMAwxSOJ43wdVpWJRmWSt4sbc1Gv+Xf+08CpltXgNSE1gPH0b49biEVeUbd7EuvU1bbL9bxnN1tGVVKnLfJn5ohxkAXRwwrT3u2yNU23ugWkcmxP5Rqt1iH5zmEkMm0f4mO8lsFvjBcdSwxlF590jQ6ArH67ESmB6u9gB0/LadZfNkFyHbcLXNlt8obykCOgpxEfRx4op2X8aAMWjxezZc0G0HC1ZJB8ncbQPICQAqYv1yJ17M2fFKpoTW4GVsnkt9Oz1BJD2goGU8EkkWcWoifP2zFrSwQhIpsnv2acdJJQY+45x2qqjLXBOsMG3m4y7R02XsxlmpouyIEv2/TEzka6lLhO0CTIcsFzFzaHK97xuTauIGSVP173DPUSdgrbyFa9+DoQmHBy7UtMB6Dw6h5C+UhzTiTtijstCxzfThogLvGTiqWjuIlH+y8tI9T1J+7PrO+l7eD/UQDhcdCekL5wTPldly1TQg1lIpvYubYwTHZtLOsKtO5bsAyvKEeT1tiSQgAmrUBR7LifzvznkDR81nueHX20hbcSFdJQVFlFbQiy+ACqL0qnnhkq44ugJdRM7U0pfvUVt2k5ANZ8dBqN2fwQWEv55gG/WF3QtNLhrBdq/17I99ZSEKAPFUhXkAjULdW2XXL1E/rNXKr5skNtsuQWQJWpcZNAV5JRgjLAmJXPWzHSc7lOWq5exae/+Em9c/qPxg567wNqZ4WVC3lTbRQemRjep45o2p/KkALsEE/TqLrgBwVanuOVWnLxLHf4hOE8d9Mm2jpPqpbHxaDRrLhFlbuYtNVDbg7UrzJev9vvhQspEPiybWhwNvZbeY3hKNGUBBjUiMn7glmZGvtxxhC46R1DFMut4qWJroRYNejONe7weKaMSvn4KeHMgPa7chE/1YO93PZJWqMtsyTRFeJ2Eq/NS4eV4UWXPCeThYw90RaoAJ2vgkQZVPcRqkX4tJStlgRT2UWopmPLZQyrlrRClHWLBzRI+kj9NTRHFFUhP56a4Uf3pBJ6m87R0OEwJsFljn3EsQOdsxKYanShqtvFnvEBY4OYveJQ53LbkJX6s1E3J/Q+VglAUwhXyQRqxdkPMdRIveg/p0UmT13ND8T24uNdicEn3ymAxXiIuHtgLJzMTK+Xn1oPy0i5Q3ISgE63oCCjwReqH34KIEmdY5qydrdtE8U+Th5gaKtaXxcwREX4ncn2yYzYx6XopaWK+KOdYfug5NDU1OJ58m80t3yoWlw9tkGXucOSHkozeBV6yZ/UTN9sRfWqWe7EhUPBy78tdsXUMbCULDvRQosmYFfd5m68IWGngMlHJRX8iPDe19li7cRop36IcV2M7j1/jEND0EGcOJ1TpyEsOZT1+/kU18hmhGEvSh2hKfWeatjiXSFunZNQ9FKyiDBg63goU6HKaL5Eeg+UjZtsSsKXKa6Czp3BRcqo7pNDlsz9WRBqAUi0B0CNvg698BJks8e/YfunpGvJQTXQ0R1WTNf0gOPwyfiiK/gSgZXldP8DfC1kmyzszRPbJAFenOFJz+iDeJcpLnIJswQp7LKNw3UID8rEfSxDNUkJKJ/caIduOKJK3bbYJQuC7ydiLFU+Cb9VQIdRCu8HM2wJhxrX+4bRQNaUKZu+x4hD0CrC+IVJSEdqR7zI1p48i3BrNyu/UpuBmVJXFMJ8725eG+LPLeV2fHqmVJlBLNCWPeCAMeheVUuTKPhs5KDCd+oBw6Q8Zqb3Bcjxgv3qsZHOGEwSPsOMUY/R4M+suU8NscAgH/Nmit/7Eh9XH/ftrQXZ4/3Oy2snTHk3Xw7/5Fs4J78fPmeiAZM+YSSYaEbrlyUxuO44arIwd7BXZySqJq3QbWM9Y0ccbZxJ4KtvhB9KdPGTmlXGodnZpsB32d3csJ6iW2jNkaw7keNnlcDQQkR71+Hfa/O0YEAYkMehnvISyWG4xsEld6MPwuKSIvJTWdPFIUyBPugkeBSpzmug9CSHISr7/FhU6KNCDOF6QaYQZN0OlrdZqIpz9ZpLPPJy+R9bBhWqat7MeqiP73/hF89idNQ/uyWa+ZvUpkdF0JpujmyWjaEiN65wlqn54iwxqpjp8aX9CMQpy90up3Frqs/+qbVrqrhq4EeF6wZmDTW9cudOUmVGveNHhnN4yCK0i4zCJXsNdpQtYT5GPFitJ0vmKOrEfz7q8ydbjZjfb93i/jMtQQs+nrxlUEu1jAzCw+unQTicWcIHrt9YrtV7XTRBYDatLUdRhmYCS7U6+sh/6k3Jfz0Bhb01K3X+oSIoGEl3bNSTZSuaHW3WNrY8SVKx/etdzY9Wicv3oPR8Fmy29HCW6ceRZEPa4OEmz63Ygiq//QX3ER/Apel384oJ23ytQbK75ZqKxz0T5lVwHb8OTr05MAiV0dlKrXVN8928SKbgJmfRoRFMVyw9nV64Br3ZTqlTFIkQ69WvXtJ6N66IRXAI65EUzbfigiuALdID0t+ynG7IhN/coYkOCpy6bDGcPrv+WOWDGLFulYOdqOUH3u8rVMDdRsi8pbUUCUqTkv3qQJuuJY19SkTrseLeEvqhHptiDT7DlSTnDNX4ODLGm1sfXEx/eDthwIw8bqDjbrueTfAv9HjhMZM6p0zveTHFXE+9FW2RoWOGxVSk/hkB5NSC/MgCMUq12I8783ej+UUEX10lCxL6/LFjK42AX0LosT4aIfSCjNqtV2tbJ7vPnnHFPDCVm/RFaBK8eNepq7sp4RwPFaj16y3mbRKnfBXPDLNHxz4D/LULlWUySEMO3vtwOoEd1ndNnWLpvuKlEcS5rBLpYT11ZaziMPYw1QlSGCsofqC04ighk/bcbrdcqIapSzX8NmUraadquhD/vOgqOJOJyz1l9cgNGmZTqci5DQfiHK658wiOL+cldtRRHKUpmG6IKaE4zRo787CSgYBDqwmJrV2GExdJIYhMm1KsiWyHoZtOzv5k3S2VvyHK3onuLOPNYDj+I2Zr0MrLu62eIcGCIDbFfBPlWmUa7pExAGA6+FYec+zrosAEAS7RKMsU59U5n1NjhCp7gnT3gdxMTEfWyif3L8zVCtaGl4Dt1HT4GkM7Crdmg+/H3LsDUVT8wBQVcm/RqfNaVMZD01YgIh+dwjJyfTWY4MI9xR74llRU2wTg0/LWXzflNl6/9FOFETUd9svd0HgA+G/QWA2lhsb1/0ybcBPl/Gaxsv7eFEdnCPU+pm65WCAl6YMySWLqxxuOvyaNbbZ5tVkdAQNATFn9/t8aSuY7SGoaO6m9pmQbJbU55p4BGLOUmkF5q3UbBqsqVDLfC6yRqbqKqSki/H5nYv65aHRlwnVN9uxgmSDfPlG+nLmCj6o5y+OA+oSMutJocsIpE3O80geUL1/rdFmEfGFpwGm9yIBak5vlH5LfI7VZV2QEKXXPVtCLE5UGLZ2eNPMv/jYbOmXmmdtWP0NkjViQhoE/48a8/xvtwBgr3f/hy0dmhhv39Cdhwl3MbhlTbEZ8JeOSFn9r7zlHSKMSHUZthUkmV7/wt4xEL4aCJdZuRzP/1Jzi0gx5kmzScfCVKczl2Oyjy2gsmlWLUOdazV8dpq5Gma8f6jg+aQZ2sfRSeOsnygUMJCvCALj9byw++BW3Qf8rSeLYrU/LUlt/FFbZPzJtZsCTCV/I8mqhh8GeUg0iRGjQQlsjzEz6lpzgOmsZQFKlcwecAGSftVGANfVDYUxKSnqQca4NcEYw/kkIqyz30tTqRVaP5a6WRDmT9gmkUtQoieu1SsNCmbp9oSv9gVqwKjzYrUrH12XVspzZvi+nYjP5iyrNb70uHVvxr8gADyXQNZ/EoSShDG1Z7MgmQ/HAajO327J8pkKZRFI1Hp3YqvlRYk2iqdhSMqudW6oMZsFuwBg0vXok1T+1Vzf2l3+8q7oJnNgDAa9E5KVGFG2qMr+AwBlNYW2y8hfMNr6ePihZHeugG2mTvFmbbVsbqsRGJrDdS7bjJe8OzOrM58spnUVvPtzhrD+inyXidXxB+GtoOctnM3Ui8jv6sKw/p/kdEyA+2KT6iO6MlZGNsqsMqbI2bxMDLanF3XgZ9RKoe//9Ae/c2PNmua7aK7mMxZ5t2xaOC2xesjTYAje4zIEoXRwBce52BM0kefKoSBgoD9FWZSqqbU3tYY2WODBBQLN5FRzt9k6Dvt59KCGxsMkodiR7DizLcDOmUX3VuColjKjN319PVS+R9jACAEqyqOqPUk+zXTif3c4v9JjClZSkiy0tysCdC5LZDu9AY/UIl8mxqkkLcreybwLvG4r+LskFYrg3GShTsU5rax86tEuVKfXg6M/ficJca1SWS7hDA3EbNK5yDSKEb10ZuO87LtBVIln92NdkHpbtGWNT4v1UDsjlVH8NehQraUS3y+LKSKaqBzd3VtYewmNK9bHuIXN3H0vN8YvFRwsDcyXGK0XwCwxwmWpruABCGJVulEzqBG7e0AMRsePz3K/fBVBiJL/n8+AjiAO8Of4iYTjQrka2tFl+tE4QVVaGWV4DIxKOtX0ixG1sNKEKCJrcHDFP2rh12fVcmywtrbt2DYAwg8vKXojDYGD2/bKpzh4WBEzicYfggV2EpkknYzDAdhQ2tkkMUmPIW3UtNA/bAca6n9hj/LPuDNwaE/DKqc+oZZwCmud4FEPGOnn54A5b8mkbIQtWKOy0JfUsGkZ1qrUhHDTdW/oJkjbHagMbYCUu76JJoek53AfvZnLg19b1VdNdFq9aQ0/EszLO2dw6lqNGKDlbbCx0YIw0B/Az6UHSv60D1SgXWajazVYlW5Qve5Kngui5p81CZAZMza0KGjbYpVw85V55nBaLCFIgHH5naWzpMpSd8TJwSJ0k7aSMNAZSXhnRmRK4dOcHgj6PxaeOVoUF2Ru4XFFp1jYQdobbshSj7+bN8Bky16DX16tkNWkCocZv/t6y8FnNdE6TQ7jnSPYhS0vpWgLj9//N6treqHO4h/6Km3dNPijw0gyU3fBpx6Nrr1Aqxm3LJudKrKvbF9VEVJTos/+OKCKRzP0RJIjQdMbXBshWH75Nmp9wmKCQpTtMw54urKtG6AUXqQtY8rkOuRhD5Oz468o5Stl6bWsY5VsLQm6NoEwZg5StuM6OdZxuvpk8+Vc7q4PRjt5Rqb9zcughBkLEcV58rvfZZGqAjGqx0/IQpcjBDMZ9CMGSBJromi5bUZkprt4i2NNU2ag6g2vzyRxI9fXGBnkHi40fOjyCa2yQAZrSRkrSR4Dfv7L8XIgn1xjpNnVn2C/nROj4ec3y7FIaxROLjKW1MWzr3vIkyRjXkJM/s2enEuaIEzc5iB9n9tm2eR6jlEo4ry7R58kwPRqmqgO6KEThMNxg/nFbEGXgQWBDcL8tWDN3N+PrKjrO8P42MWLPAQxG7e65GFs0gjcy6nKQCu12Er7RSLloTrhEmPbIwH5g/0l2SN94lxST+BhJLM7aLDFQPXG9qj7nKD2G9CMSQqsu/EO4haSxpo5KoIY7t0gDanYh/P5GildjzapBfbnb00piz/2sGw8feYtZmclLCHOPFAAtx4nOPzc/k4+WX4UqOyTFNBXgtic4PMRdFYmR9hRRAh3uyb7xRuKgfWsFBwVrOYMRSrYWfUO+g6TtwrtQNqezacRfdLuzGNqfxeUisrC1+ZRHQb0gb3UvX5Hc0Ci08/bCMRc1K0ntxvAeVMAWZ" title="Mekko Graphics Chart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70" y="2040570"/>
            <a:ext cx="8120030" cy="481743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752600" y="6324600"/>
            <a:ext cx="16578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Century Gothic" panose="020B0502020202020204" pitchFamily="34" charset="0"/>
              </a:rPr>
              <a:t>Source Company information</a:t>
            </a:r>
            <a:endParaRPr lang="en-US" sz="8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3603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phabet Segment Incom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rofits for the base business grew 23% while Other Bets lost nearly $4B.</a:t>
            </a:r>
            <a:endParaRPr lang="en-US" dirty="0"/>
          </a:p>
        </p:txBody>
      </p:sp>
      <p:pic>
        <p:nvPicPr>
          <p:cNvPr id="10" name="Picture 9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UxRdLyPBQmwFteRcmjXfmIFbm3W0VzdChVJMhV3mHDqFd3n02aUFWT5uGt0RFu/sjMTyHLU5gIbGEfHz2D6/7SsDoDD9FDda9aiA4RUyXnpHj/EyYKhb+okIoB5TS/1b1l5RlmCRu648ZCnyXetp0kj4nbTcJTFn/c9pgBMfUjvoaUnCmxhtyug2KbnaohzxxiHEB/u+x+g62EimbKgL74wwUo4BgSdn20AGP/SRqm6UihkWvUgocBU8fizpDTXNs0FBNUZj3gScyTv1jtq1fFjXw1n4oZafoWD8IFMIk9tP9mPKkq7SxSejzuV9X/BVJBm7j948wKzyavAWftAURG26gTb/SG0Vpw0DhZFsQu7jeVEdrk9UDn9yTcCnnkfZA5oLEMCgGQGaaFQvf5Fg86IwlRtZ3QNuJgglzaWrmvtyOODbaVq2s7KOB3aRS4+PRtzbcD47IiqjYP1e+O8UWgv9Y4pJclnv6gLvBVTJoGb7SyWjIqdg96P+a5aAxYtriODkpM+Zhm64BbC2fLQddAspf+1S+vkA7baTol1h6BSRQJtysOjT8LTTiU20RiK+ZBqVzKYWLmkBH6mQhM9jqKP1VsoYiBCZ0OjrzcCAxfjoVzNauVvCm6VpOpOMpz72dbsPmDyhZsTjbQzlJ8m0gwoBEMtOlZ4Xdfde3T3CKRAvtKZj6p4hTAw0tcoTO4xjtEOy0osr305PKAxCfIdk9SomsP8Val7U1DJn0Xccr2noCoicIwJxBhJdPI1XTEUDhfLCMye1i6sy0C9mMbf7aqh0gICrvAUbtJWT593+bnela248FRy++AD8oegRo2b1rXwFKmp5t4X/4ajVzuGe9spVq+V51lrLwfCk+QSoAUNCGsdtKtRKNq6V9pDY+1nQhDvIMPbiwQrHjL8se/IEF1i2EsYMpLoJyE/S9ZOIqp6Om09qsna7Zx7ERgPJEgDFrjeG36IVRZ958A1FGl+ze5roeBc9r5H4zxt9GJ4coYJY/yu9Hb5HdVl54ATW8eMyUoRdMV7TeMoFdFRzIDbxMFWO5AYJMJXlLQEED+AicUN4GAAsvbHWgoDu5Mkgty9mpsQOUnoc12bIwGT3IbyPFn4URfwIUds6dFqe/viYwOrMDznRlf5AH40gEvLg6GBtoRMzWv3yZLh2C4JZpbgj0wOUPxrms3OSWzi3RwDwHkE3FC9+61vYarYZb7iHSqeUECtCh3xRTixy+QI0VX+Gv5yR/Ua0FAukTIlVvdoLwHrGO98Q/tw+52++ms34MGMtCamFzuwK8spa8CgbGm4GjG192fx9Iey7hmEVZAPIGkYC/gDuTlPy2uYGQSwJ+MY7NkjjvhBzVBWDb2oNRXmbJlqJ2yKy2WlyZHF7T9qy/s6NeKoFzHaGAN31lHUTUAaYW3CCe+aaR0fhj8X85/7sIVzoquDexOR6Kmu719R44zcnmumJwaDQDaKNB4n+06YlQoWp8BgUOOfiOpbp7L1hcvAEk9+c4ddNiWFgx2bY4/VoeEAeuZXLrjHvG96LfiEqzsOO81601eKgAvAGw8zC6Y0hs7Zci5AGsg5W+uGTZwk+H+qbxRetPXORQYj3Z+A9e3QZDXpLKx/JK9NiNi8gz1wY9s/oupzPIzLdbO4LK9IlegSF+JaLCXnXW5JOWAfq8NQ2F3WCVelgy/1i/v6JmEB6WSX0mjR3M0IMNtVzHMzs6ssJt1t+3SM2XcTzReTWinfwoae+tIumb7Cf+dPKyePRZgFJyTfuzEOWTlrjElKtLAq5/W5F79xtZbXut8c2+PEejgP69iYPoZbExJ2G3/i6kroa2UABGnRfa3V2LsyGxRpdNcO1iI6JEWJaQLPVPEAUG/VhjX8FSdPon49Ib7sAH3SZkk2vKv0QIcs/MOs/wqqqWTzM8n4m967CaOB3DfTnQ3WePLhL62rdZ83pUqcRjcvzEKKPrMDjhFbo5BcVQQZ+IdtXEWxnst4udIi8L6BKzkJW/bayErtygGYNuPHUOMizYkHppSKOfJYDELESxLRnKVnWTQd70WbWf0VzvV9/CPkFob9wj5plvqH6SxYPbXYt6eR60kZigi38e0h7qSZ5w+LiUCZK1iKzAQ7eM0snZ6YGKd/NQb91YFdm0oNfvSQRPn+ZCa+tsbgBvN4lP+Pmn3d552XWC0c2vD/oNPDFimitpgISJGvIEzJMb/nLvUTnowEic1pTHRrc++nuCw5cuwDwF8hptsgbNSTTvo1S7IGcfJ2ELDsvPRp7YZBXeLbJTJPNJ0tp3sy4C4CThTgFIgDB7alKPl5ilu+FQfaqbg2HxF5l36w7fSx7sMe4rz1CEeNKLLXukDsb8M/rbhCDdDeg8MlBXYu34bwJp/3gFBdjn1YNRxDbpkkLybUPM+sIpR7drynbvtlBS0pVY9rkckPNFdwXo1w9x8UwUF7Ci5i0F6OzV1s2nL6KKOyp7XxjgfXOr3ZhYOy37SUS2A3h4ubhTRTburnvj+xGPFT/SUQgdpYeXT+4lxPZEVy+cz2FTtdv2/G9HHr2Ay8c4WdetbeMu/vv8Nl3O/YDWv+O7/qFT1EIJBfIx0tji2EPhI64dmYHoAjmIV7/W2bu5v5HyFkrkPzGzfFoKnQGbsCdsASlmW+10ap2Mhle8CtYqzVuZ0IdbmOYApiS75tLh3T+4ekDbSU4jGHvoAn/czQEbr0Z2ScXpcK/WRxe9GNcx/mFhyEGp436S5sNgws5lXtRcbXqJRz4SwRv+A5d4W/YYXL6mfZJ+D0X8ZFw70TPYFwmjsIM69CDjDsYVY1jEz6R5oC6W3WnwmpMRzKU5aZIR1BDoLF9pIXZSRNxDWEWO/Nxz4G+t09q46kSB+jDN33iTwl10bHvOsWl7GElNwfa9jo8wW1ASig6kCmEfzcpWheu4r6Wka/HdLX/XhoBqndjwb8Nflx9CgalHUJoe6tVgtTeTPghJI6hxThIJdEEhhlG6D8VQGYJt24bthDaIMkrr+03pMwErAnVghGSOHorStmbGEtuVDJyH6SZl2cpxk1Nb0EiSrGTIBVqpU54eynpuV0DPIjZ4G3/Mt+Ap/mC5TzfbTKKmJcMiJnWEtJ7QqsDE9TCnD/CAcubW2h1Ola3pxYnviN8KV00ljMxZVty3SmuWs1RdmrnnYLVhzKuOFFIn4ygvbYOWJ0NXW++AWFKkTn52O8rVYnanCiRePKEMsTLZx/TvWsriC8F6ucN8kU67Kpueyw4JVMa9a2OG07kkYz+QAteJlfQLJREO3R3SSCjWIWwYsZXFlwsP7Iz+jUtcwAN//fjeZ/49pHIa7e1bv+v28kIpAAuRJHJr2y4j2c1UuqBgOu9VTnYep2MUFJ8ftgIscqV/xwlveLHS8wv/mGtpqCUFsBN46rQ1Mwckq/Q1qW6FpUswvTC4N1ET/gyoolZbXgxPu6ysKYtlKe0RgU7/HMP7eP11OEFGmp3kmbr2uOxQEB7YvoIlOqnFiw4mbns0wQDI3KLAGd/jgej0KqPhF02zjDS1Mbon1weTpPAM0iVNhY5g2Z8YhXcistFNmjvONVfQArKRaMv7Xk2/auXFL1r4zTdfaxgX83pH/I6VcZhjtpWOkCNeY8aob5whMb7PqF9hrnw2pVqOU3klP7mdLG3kx27Ujzy3X7YtJfpGp36U2zbsI9PMmsRiqsJNW/pq1x1K1i9B7Y/rwHBWyTdYKA+km9Mk7OMhdvYBvmqWjJgX0p2dXS8wYO0uYBgNya5RqhCJUST3sbFIDTTl0+xZRDIEEYwC747HrfAJqmVUYI2hKZiQpDURKLn+V4mTT7hhFmzvf8OrfNU9kofYy/YUsm2fCq4YukFqdDBau30F8XxgVc8hA1NQWdGM6tFoNAMDPDLmxDi3so9sKzfsbSc0aMS7cpILzbQoKghvtXCRnfy/9qtqHNuC+Z6iHDlvlwvst16FbM+V6fYDPsnAbCIilOvvKCoHD2XscV0pY4iEcv7X9Bfxcx70AEjsaifU17eBl4xFeGMAO5QG3I4TNDEO7M5LplerKT9jf62nEA/KmUDU/Yma8mpaP6bEC93d7R7bcdDI1xeS7Gvem8tvp+p/a70OrcQxw0b9pRLanMKbJM1j1Bc2AnVCQgCp0BkvZ4c7qDMpX2PZCf3gB5Sm8KznK4d6Q+R531D0WWF3umlb4TBssK5e2rn5zCvlKbxnIA0q1U2ikjyjfaDlD4I8vnmMtDxn67SjZ+GqmXM2C6DfyjLYTj03W2Ap6u2H+VgDQXJ4NcwoPqDujsFXxHJ20zxHqEH1fEjxvNoVc7XjU64wy8PX5om0hjamsa9b0DfrwlSXjf9W+JzrKi7VxCPUGGCvvKBAp/o5Gd7vL7dbR0gXmXNM4WNrvPiAdTN3OgubEwYzBBo+80tWnntftW1LjeGGhtZhUMInhKshCnRkyUuLfRSVuGD9UVijAG4jDOp8p9xc0ZH1GcDZ43zEWCiEcPamCLrNVzisBmJY+sUIYzvOsIMcVMAtC+81ILZCOAnELHQDg/tqBM0Z+fEnSzsuqAFBWUkAAWpa5bncFI0lECM1vjGpEq7cnLOyoEy/aNpKD103VyEnoiBVA7atK0RDFAqIyMlHICeVWi5beKehUjnipR5MsR8uLFpBBYIJTHzjp/EBVFNpUTYhezgub6AQRBRU4Au8C0YvzxakZGx007lS+GMvP1QzsrtnA+eiCYugmGfasdZH3G5YW5wLbani/POPKkZ52VazNYPjgrwkBoMFZEsX2CAOul+y/kRzGRoLQr1/GDQDAypTV9p4TJOiZYusizFa/ccuXG5geqCFfv9NhGtXjinLKo74HrLzy5XWi1LxpqDpse6485jl3ecLUfh5+APVQ90K9DgiqMDEIxCx+UXaLebKxsZqw5c0lds6w/0Muf8idOS5TfnC2UIo/U7XtnaYtAWMnsKHgBzIfFtGiaVmRknE9t1doRvJrAI2WWaC5+3/JiWJL9ucGMx7fHyXaiIhPIuizHRanlXjf1X6Vu/FmkRhGuimxw0ooqKPZN9IY5/w7OrGa6BnYzP3Aatd45CefBN/gc2NwcUBAUpwEt/02daVXakAlpl9RMDOr3Xos4EA20L+3lyQUsQIpuChjoEXgkffhCSPHaDIYEYZ06toYKT1c1o6odwZPH9uzC8To/axZfbmkVZ3JnEKRjz06wkeae8BIQXMkPx3A/MivaFqsAntdeoBluSwH/URadpCM8ZAJFw5CZVORiR5yHc3ipL2l+4+qCSFDTKI1Yz3+G0HU8mjZM0eTiKyOOQ9IK4PWROZN4qf24mj4V9WwELeZ9zLgk5WJcuNtyr2JU4SH4Ixv5mTcjbVLNWiCCL20LQywJTbqy+dU8atYdj4/5xOvnwgYWxG20NZW2LZ8ufnREA/z8zhUZxDArDW9jnL/caHbtafd9Vq3qloOI1Jw7lAA6Gt5v4YkS/Tt+msGI8kygfDoFmL4/r0cH6j6QGs40DTXEWTNtuPlzTTr3JeOHhX9y0IKWBwymDg9sxn+OeH9lXRriS1TpgzblO1BLEsaz/9fOpQBaHD4xPouNBe7YobdZSt0B+DPxxxPQYstyone9N/CkZDdLCn0fXEacnkgStPwJjAsQ1wmI0jr2ROmhO1QxxJj3AmAIdOCDZW3wtY2Dk33HhFs4qVJ0ads78eLuxkaE7/ieBKxZ6NrJbQxQa2kwval8vYAGVJp2JYTv1X8Xht87LtapHaZSd/+/BR5RUVPIsXobRPxso6VlKDzflzPbsG3vv33UFrAQZik3//5rBWm5n7QLt6Ivz30rFgSuA01dNFd9e0sCooYjQa1wV6nNQpVH8u+FOK2WKWqfUmwQRT7ep/lN3aon7CR8RGpbuZwtR47xaRy9NuP8ZQlXJIvN9ZTr5pKekJdbcBeiNAwiBzagHDiRXrM96zN0G3X6MP+6DjnojC3v7v/xwt6cIzh1IhaWEAZSMUMTqcP9gF+unu7fRgY9ph6TtgG3zlmn8SwheP6CDPaBqzdGKu+Z8TpoOhCR3K0JRStIEsI7FFOfRgxLgiI+l/sUn4rtBSD+BEt0qtxN5cbRf5E2/HQ8er1CS3YXo0xZCOoKVkBNJNsMtRR3OuWjttjKf3K/9unxsS5AM8kL4VpsfWtfMOpAFoM0ZsvYF3L64ljVsDp2teTlEAxdicOlWS6siui2/uSNsuSumo3tQzKK6jR+c/KZf+9WP3sfHfK7XCsEitML3f/Wdl91oDCgpwSWjupn679UoNsqb2hqZfpmH+MCNzbb4cY+OZNLospHQoWWVwvxAgBAC4BmC6RYmkK+XChO7k3aBC5m1tBntAkjjuKbcQGFySdGBTZkbztHiL+5F+sdrvt1zfkYPwNg2wKOEvy4jROGTXbVjfroqiIK0Mcr4CAvVFu0ac5yU1AgBFL3JmOSyAbpUyHgxyMd5TZtShaPovOhBkMaXGVrOu7HjHRku3UmXP6QFkw26c1CUT7Z3G8R0nOKQJyc5NhAx2i/1HBiZF+Y1pKWeU+MVbGC5naSXFOYpDoBheuyEG5LpHv82NQpP9XYky3tTlqrOm9rggr2gNGroIiBFjDeWgdiaU7pokK10a5dQqGIICpRmi2XI0pJdNFHHqahmi8vooe5QfYHUhFrvmBf5USCwwTFbfvn0OrFzrKKdpfFr5aARyGChtDRSHqzY2eSCIGN86XA4dz3zEAnB11zjWqO0sSbcc2OM2g1/TNUYoa+BNfIyO72+ciY3x3ALsyk7kiZjJed1lR3EVEio7E+wwG07F7WPnuYurivIHuSd5tl0Y1VY+ilGkhQHlAB7RXW+5WXO4zh6FTSBf+gDDCFVh0k3n/JrFPpiE2twfaoq9QLFgRCxVwNWQp8GIYchd0sCkApMsdRYkkTUlAdok0g9XKowPkRP2oosT9H4HCO2A2ykixLzYDKjqaTR/EYqHbZEl8u5Ej2YKmZV6Q2pO3pl+agiF3mfieEu5g9VwPRvqtntDdAPvImzEj7/uD4l8PH0jO1RDSluJeEGmvMOOWLwGtgYvkAByUMMHKfAbwV8WduKDg775f7zkhBOWk4A7gvVFiVvAAv/C+YZw+FT69wXuWwBJd1bC6UOPJmg3uwoJ5PMk7YDQ4TwTfhTQmqDmi3np2utiQffYypYKWgXNkVkzdISGTdvZrQ5qMAPnqb0EE/x6LDCE7KXccX6Lmw7E9c7V+fXM5K0VPSRS372wTg+sUmazIksCcFSx3e08/JaISKQxm18Ew0n/yQZ0DHxVxOg2TWoNApgGtkcCfzpxNF8oOzCJ0FHKIp0eLJtWoRK7yMB5tQLhSgCJPMo5SR4h7OvmQxmozXvM54iHr5EdGV9Yni824LUEJWC1fDs5SXvVJR50l2xA5VW0osOtsN1fzLR7K7kQNJSVdPYA73V6SdUANpDbWDATOqJ7GYsEvcBHPE0cNO0pDWCGF+WYq7uvgfAe3FsH6hPr8cBtkqNC2iu/Hn/XSDKOBjvX7gdVo+69hiXC5ULZcI8kEVFV4HK+N5BdPxfCuQ8nZkXNnhA+G5/1T4G1MLQvDhJTiJQF5SZYAmEhASWAt3vcTF3bwhyUA+Pyha1MsgAYm8Lg7U+3yQKwRMQMZjtJszW3WuHMIRGHW8ceckvGmWwIrE1OQdb5m+/pcTbRuunR6TEZnQ1ISeNowtBy4FxaUoLqoollK9mtf/JoNqTgyi0+6sw2A0rYfKttw+W8YZA2P0Cbrg/QvQeW7cTadWK+FYPtEIow1SVPU6LUKFLnY4ca+EeurbCBICfai0TA8kPH5/SePczavI/nCYdo0cra1fFVShnq2ZrySBmZkpgiL60g+i1H/2ZN5psirOAsdPxJ3kaA9naFRGEucYpXeeJWpf+8AEUsq4eJq1DKnIle/EVF8B+C4CUXNbg99FeCxPtGP/ipYHgFQtUhsisS1LBViLI00nX11CkunU4xGvf/ojIXvEpLuje2Da3+uvVaIdI+PvQ0o0WbbivXXqJ7qDNPSFzB6KzVxR4mlseGgZMrq879DxUg98QZtpkt7EWkpFp+zddO+Y1o/u67UxQcXC/P477a7i/VSXZxmYQo5YtcbWqRdkvuup6f3U5UJGime7dqFgQ/kWInZ0RU2Uk2ItjqI/X0HxMAL9Q0smAVMe+T+ImpzUKmG7NDl4QZjIhC/P8nj48d4Pq98f+0nMV+QSEJmWNIByM/2+aEOMemeSq5FgdWCkEJk4vrtKuZY1rkPeK3Gi4bOnEG6csz8n6RycFKOQKiPCXtnKUdYphY3bKhsmdiexi+jdD0z8XYtoB/nWuSroyCyb1uVyJ2yeQmxUZfHTzTrl27zFwrkIsfKgAfmVzVMbevoxZekiZyHrUdZCTCa43u6+OIUoS54FXQikNxsEc/5kaSSwxyNM7F8AZGdhOuyICcve8e8gzTmEgWWr0wZpfaegsTM1nVLeWhJ2q/OMWOofN15z0UvEw8bgwZJNAXVvkTJsNK2G4CzzWWsU+bFQn6PtPMoP+Hm1t5qU7+4m4TOXgqC9WEpCrG5sO106skySiBvKrRp0vqVk8HPf9ffzxeiE5sVLViOo9o00REZNVaEYKb4h2TAmTAvTURpCCPqo/e8yziY60TcLDUFbkc9TiE37VvgIDBYz6ogthgfeHzPSUk3l4kYrYRvk1MI47nPkCZG6hdn7KKM6/QIyir+UqILrTl3tX67XE9CVWgKv2jpey5H/6J88Q59Qrt1YZb+mkWgGnJn58+qvh0t1JC4ronIZddXivhJOP3dvTwmI3pDWzkpi+bhNIZrnMfqzjM8gyR8mOKKkeWrF1HqybCRqteTsWGuA1qUv3v/taylbdvHmDtJFHugLxN5v1PJ1MvQmOyE5wstpf5ctHG7vvmQOJt73+skkybTGW+a2GozXgVtErawxdkNZRqGaxd+KOdoq2UJ3laYjCirFMWLg2VmtWQvNyeUsJF3MI7y+XTU4xveUA257siCyGuemDwIoy2ZWVa8qloW5cgICI17tSrCne4Zps4pkcBv8ImMeUHYT9g+F4Ab7CAlEHqT3qwOKt3O7IMgeelcVaKTvb67qD2f6cwWLRlZeuoUXQA076UWon5fPF/UQl3tlRnPr7mzXIgUW679AUVe7v9dCy4qL7dhzd3PUcU14Ea7V0RK8BLjLOnEr7UrQuyefDIR77NcT7K430WBOH8D0udpHrcmeG+bKkrEVjh0zx45oacrQtwzDgF/nQAcJgsqD+TZyyPJqWJHQ/tK+40KmZHYJgX5d7c67kc0nQF1m6fROJFAc+kwTS+tO+MSz0Qt8ZWFjnhEZy47rBQwUEoUWRdlUl5imrpyEBg3tLO99YLFwFQVP3bP4llgx8Hgwo83WECaxpufiFqQiaWf+XctA9p7Juf20mnojwX23/x19rpsGNgVtmU9+pfGNbUzgb9yIRdSZRiRnL3es15tRvJR1PImlgFwaXGHadiGcZ9aCW0+u1B1OlsHl0jWTJnQ5hVtS/FN4MYEC+MMrt8IOabnHhT4dyfuUGexjsgfq+h5Z6nTTKUUZMVX7h7VZCNTadRlvbtfke3EvWk7LOzBdqEaaqSOI+r9mWcK4k3EBFqOacZzox4N7J7wMvrd2ySyZkB5544CJqD6pGlxLOa4DXy//SUywHGEHB32cFvgQN0O+Rq/yl2YxwzjndomjGKVF7Cse0vDam73aaatEcj5IVwRfR4CU7ZQkmKpb4JFUB5eQnzOVjzol380cynuTXu2EhCpbI1SEfvIBneNA9Yw1k8oGB27j+GtlgsPtzJIJ6c7LmQoZsOwIkPJTAd3MP6S8oKn+j19CBRuXxP96s00UqwZ3IIOjSDvMWjatPqMvMBbYQJtDtY78WlAAYkE9KrhOXjCLZLhjTpM0bvw4mb4dOSxL+kgDKNZ3xF9FPFvHOd9CTtk0Qm7/IoxSrb5FdBuwtnyak8bBgJdRZ0nROTRZTXNgFVrzo35pOfFwDO4K/hPJfL4Xes810j1unGDBoX9J5V70inoHMk0l8lwUx/fu13rI0NdxGs6flaBpt961+fNUiHInXikrz/fA5EdjdX9Hz5JlYpYIWdSDV4Wm6rZTygkkQ8BMkK1ZPEk/xmld1/OqdjTiWy1VEMN/gTaDCTZHJHlXeOADqCLJOCxnBiGfUbZbL6hPRsxjzWmd9UHUuNbL3uHqnEb1rroHah9sZo4K7MXyvVmeU+PJo3586u54g4tdGwsMW5PVz2RNQVF+e+gDf2nJfZdVnsRrHH+gfGXJFqgpptW42RK/xp8i1tDlSPXBa0PaTOf/W7MZ4TiHjrzOf39DbI02bEgCgktmz48twNcgJPTBDodNfnh34lepgN7/96VQ0/Pql2Ml6ovBp4RkExKrTfjsiDfsHxvlVaNV/9OvaqFFaeH+RxBdtpx5rUjRXTTnTFH35VPq8VLTXqJBuEJVme3R7lm9jAdduiWC2+2nzm1xjw2G1CPe1t4Ka5Iv/I0Vi0ylzGHUgNxjwVobxFojwbQT3CXXsPoQp7ry18KDOJSGrdhopwHwilbfKL3/yI1npFXvuBt/G4Ii7ZswpncgHr9TISz9pMpnosx4AIrNcpvVetvzKrrt6UiN3Sl5mpGaKPtR30VEl0yZLZ6tkg6DSOn2FpAcySBT7WqMwktARrsV3jt3D3+jojjNWblB0ugFCsJZF4xHJT0MrEOeOC0xG46vi7Amko/l1IF4PnEYajFt8r4ob7fwKJgXAew8yXeRTqEW1TJEk0/5db1duR3betIdgXxUdBRjArsHswySm0bkM2E3mv2iaKfVAlkDYu4mpyo4SXNtSjie2iGUbMMk8MwmTAQG6E91WzWTIYDG9aJG4iCbB40pPx4KxDrScJSPtlr8D/9bZGRAsI8nnn87XRPnRAFz5Wva9b//NXsc0vHjcO8IUVlhRoIngY8XSB+G61dK28dEYVhG8f0aqipNIpojn9GkllRPJvrooS1ouiJjRuge3s8ICPCz4y17lDWKbk9q2ln/KtEuTYmMHBMRcveOIfY0tzHxhkYlmCKRL3KtSvYhwPsoNG0j5RWLtU1iID+lZFXf6RgdHzd8a2Wl9Lw2+ave9qO6pDl1FG+ZosoD0Pal2OJdxzMhsw9Q2rRa9y88Vk/r79WdwrBWWjzePIKTvMs/1vMTiaSH/gCYTtiKZnUZKOd5JzGpVlJ1jGkEKMnu9WzhEqi0y3Zm4yY8Ef+88Jz0GPw6fJp8L7GV4VPRXjQg9bkFFzZlsm4zea+FcAO0sjjhYR1U1VWcR30LCF5DeUzwuWUZx/RtnjmGH1I83eJ0NTmq6PabF1icMfop5XckNbCi6uGyUoQPvw+n2vVxdhVQ8Y61VlPn+pg2SbS7VmlIDIOokrDkk5QnolBoTVwI+6llxo2UPF3PfEq1gKkYLeRdWpwuzd+BNVomzRVypIVy11dg1KCne+R4648uC9RC575Uj52rbU6VGPTyHJKzgy6wWr3vWFPN9oJjpwGtpK9rvFr7CEqQoAMo2E7do5c0yuq5OIUOF5tagu6Mt2KBFEFGu2IvwCpfVZIiD71xM5roy0AKsK7bJvTJjmNMMbLNsjlHXGfsFB827+seMcY/14EIpYTiitcuMHFejFG23khVkc2mQqQtPgVOfL7RhA7Rd9uOG5gLN2MKxIOs6Kz7BDpm416TGqTPNVHayC8LiIpJ0SKZUGnEc91nCQ8QCGIMxmDLrom9FVQgsj1hhoxrATo2PVFm8zO0nGfVgT0MsbkkYHuBNagvmUAtNsUUmseN/mBRMhEaxL0GDkCO0+xe/qFwMqy3LrD7vqv7FVM8TGDWmBuwPlzd/Tw2Y1EomUaK08Ofvglu1Mdz/XmsOaMQ4dcETTDj3marAuQvQEl+JZgvChjpfdogCZds2cf5eMl1BGoBtWAfOFVNmdiJTZdh1+U9C9dgbHzGD4n+2wrikJZnCEsqDwrs8ujR9MzIpN3bb7oJUgG6LPKDNq1GjAnm765xcCXnaXnh71n+/HF52In3XfI8iOBuh5J9YCQ2YLySnqS+bZgwX2s2Z+dtYlCUdfJNfTjXwnfHaiG+tX/nWvh+EO2w433y3+/Na17k2J8cSogk7KermR6+CBq9rL/JrakWgqo5QfNHsASbbiyzpeHubVnbOFoxAao16sXK3KQLZFJBoEJjIdxAXbuJBNV6zHV01kQcgAfq+YRUPJA3SQ5zRS+8z876ggMtl/kkTqyLNbW0PaKrwhoNI5iGj37W55iNVk/NePW/N7KAytBUDL886Wi8wxhTcYnWMB1ZmFIcbE5Kwm7UbspecnezuM9IjTxVfd+SMHIVALxK2gXPczum95+Z1PHYz7EqRWU/emwps4zYKcVFjFVF+56Bi9x65yBMx64TIwTG5mRZ2JFyS32usT8xn2LaEtLmdOxv/FLHgoiK3y1TcDWl+WmYAWhLU2aYwdOqWkYZeuiJppSeGqw/KEUi/6V5ewNH/J+vby+gtSjp3PbLyAi0t7kc2t2J/pkNMb4gua7T6lMScPTfTXjtaA/jyL5f5WVYlS8Nn+NCaXyHLFeKBAa7KvlTdA4JR1DnspYbbsM3C9Kb1yfCe99ukEYt+utLN8PVpV9S+8rXkfsttSkgGJbVR2KesnT+TlK3xWeqP7TX/MDhmjrpgr97/dd/hawqxGoIX3Lq0Z+w9/ct96RP6u3PdehC14eRtI3v7YNS4QWaywbagUwAD02rWwQikeh1BrMa0QXpNjvclRkBPLt/cgDXUU7FwBFF7iCvhHU277OYabKKjZ973Rzwac1zxyw7iT032DkVctqudAcyh+Uq4p9DsIczN2wpU64uUK8u0gRu6lm3s9NfJUaBlf5IJlLv/LJ3idq3TtboeWRTz8vBQGyRb7DlvJHePmZau3AfgOL6qpaglS6MtGXR4fSdZJmxPJXPwP61Jqs4ArUi9eElZIoIZjAeYSGt+VcNTFfjqVWlHxnNUbLWlghKACvBE7oZ4e1kFIZ7gk4d2qmGJhfrp+5dnkwHrBMLi+w5ADQo73LcaPVl0h6Uz1mRMHkWWx5V45mAIDRDg35DLT+lXM7T170i+G8RNluhaTcn6ZUK74gTU9O15o9qpP6GCp8V4rZPGQ2AGMhhGD1mZeGn+HIE2dF5nsP5pBDzky1Brx5VtnUZ/YILwLPxyKNkzGF4EJH1O7w7W3fO0W5Eo3kQuqC2JQ8Mzn7d8t7fY6LM1Dzw5sT5uM/arIwp3a9nMF6CjmnsFXsU6FL59NcpRXdxvnJwW8GcDL4wJuJ+rpHKYPBI6383G/tMxqozObxA8yhLvZRh4JHLAv+dwlblvjBYLkTb3FDZpy4dz2dUXlGXhTUwg+2EG+mkKEa5/0xNSw+Hk3aQ8AYarZEaHc108Bp2GbPJKgcu6q4psYPx0pcftvtkNl8X8f3F2nxZkkFE8OeTawCzSTuVLnPkfVbbu+eNqxtYLqZmsMt9XWBPQuHfDlY3eFW3tbN3PiW2q6mTeJyYw7hJrTXlYU5FNoJ749784vAqrcrinFt6h+ksuysuzKbHvpx0UQaCHslyHAv6a4jK4Qxc0nRL9xrYwurUKWChcl6uaMqPgTzYA6UwtkMrMopjmUla79o4yofFJBpZ34f73i+kkrWcos0UHlrwh7ffhXKzgrXuv11Gla1ZshLvhr1H4KrSfM0C0Dm6EeeAsRdhVtBFx4ISqOr34YSMEB9ZSl9++m6rahYTcKeCdaTDOK2iJ3hNBIX7SoFPnYWFmwUlDF2vQMsEGkaJUEs3CGcF/ajZQ1haoRftPEi341MLeeiUW8eznfjpahvjD1P7EyQ65RZpwwyr22v9arlvk6AspSbK6ewbIKF8wuJE6BWReQ1t2p7ZRGcU7aYVZ2+wtpwrSjW33dHd2RQCeSLg79KOnTJMzpomKiY3/q75WBJ1ssHc7hY3riRNxpK1jsuI1OB+/uKJwkXUbIStLXNFPW1eDauKtirB2QRcMSCyL1Ii2VYzQQZQfjnHaJ086jqWcJNR1uh68u5EcGn5YYPG6Gyd/lNq6hg9lzKZwKI1PKueDIzW3Qeuu011318g/SPkR2KtPQutBgirrbt5wsrMn+paQ7A3K79W85MoWsk0bq14K+JooUxZImJMcAobCaqrT+khtAi1QLKHKWemdkesjsReQ1X6TX50L4/Vseds1cTQEAfq+j+q4r5f4jGZ41t279RrX7BmEWT9GGiz/aWV4W7Wyi+i5Xr3v40uZIqqLaKK87cOHYGpVGuJ7+kOwqrS7VNP+qr2GVRbuoqq08Zu+8f/D8AK4FCkE4JIYQUbH0INyY3xNz/DQGPBG+RebXl7HBJ+UArODwXr+XCrDmpHQ8HplJswmhDrk8yjUi9DLyZbpmQ1794dcbyt6ipRxkgVsRtDeiNDindn9wDNSAKBmkeeJ6gmJEfFjrUjE3luPR9iR7/ozgpT0ISFAJJ+4K9jpTgpbVAs1o492wVsGyPivbWCgAQXXJQ8N2iiJIB+p9ZaD0VRKfMeIt55P1u3yWfNyK1XryzDN26H8s88jzRCMDN+8dGFHmT4xtAI4t8/5ti54pKm0WcRlXNvDIqDnBzM4m6/5vBwVstRYwudy63cpfOLn+9NV9S3o4xsMPPdGPI/x5LJLxl0geHLIpwH9CnhB/+m6SmyzV0ECXrfQ5yu9sJYU3vzlPXlHNSkMJRkcghK6BfLf1an38wx6DSYaCz9gMWKHKgkrTxcR2DR7g/EbIsamcTb10BwqCaalRwGNOx0IvlWXqte4rpmz78fI4UE1qDhllFNFjQF8/7kPu6ZDuYm3qEYyhXcb+rTWFiAjJe6Uw3DsbVz0v7pG9uHkTEaCCoQIQ2SMcGgFpNva9k630Frkml6Ysoj7d4z8n9jEaPtr2sYn3T9kfhNsWuL5+2EhaL48KRRKIgCnpFxhWvXwO2TmENvAKZrbSEnfrqt5+3KODX587B9hvFITkno7EtcRfdWFJZSA6+Rzja+OmSUm6/8Ljo2u5REWRyzemXC7DLzxXaN2C0NhyKU5fRU+F8amAVdNo85qC8Rkepd0kFyh1HhpJU2bdDbvJxqT+OuY3yTIMqQ/s5UGHofCzxBoVMcTT81H1rIbDQF9bsW3iki1m8Ov5/d3tzPp6oM4HL8P/ns/XhOjkavO5zj8cDxgu9J1unSEVnmdU5MAyWGwKrl/11p6vYHqhpA7SKEewW1n9dCq96yUpDuuewPNvQx9cgYG5QBjVX6CKMN5ZirjVsYB4Y+XLM7X8mjiRkOz2sHxsi+lPE90mk47QEDuNkZdvcN7ADXRfADa/2CV5htdEptwe7L483Yt/cjKZpx3CQSK1452GOqDr0SWtSZkbhE+c9ofUu8s3vS0gO3tRSnzv3TXIrrZKrGQ6ZIAPMDWxrV12Z7WoGoMIA4oQlkPfRLyTeOaOTAgjOrSgLfQRpdhK8pu/SUgU1BAKQoTvc3EFfbeEErimT2NLG4rvJzQgNr5D2ynphP9DZ4uYT9K1YxnWF9o2wtlkJWyrPSGVV6VihVM2htGNWGnOgy/JNnB1vTjTjiM7oGdLeVr3ZcLJAG5xfgfRws023vjRWKNy6RaWcBjGevBlNhkfwp864j3c3reUSXeb+VnLHBJneybTkK8jeSQxlZWfM0BodnxB6I/h98MTxTRzaNw++aBdnMhscX28uVurSZEnnTEP72ZTYCbqM644Iz0uly2scEdLMtAMNhOI5qGe/9U2PB2roAAXqwZM2a7q4uwh4jq9M7WPx7/FCj5FLyRUqECv7t/2nyZyDGpy4BZUOSGrCtgYzPCs8u45UB2fjJaIVMOHtsYkC8MFhQoYifNnTzY2Q090vwYTWF9Y+jr3X8aQUwiXdqhM2mfBJ4fIYF80O22Lxi9PcUKFYx6017i1E1uCf3ztMIL49uiNqqKaen1pYcB5/kcEct+swHfsE6sFgv40QawOLRb6qIfVncfIJoR5Q5flxB7PdLlOpXHpGIVnMAqIQg5dNvZ5RImm1bnre+v2tEutprwR+3vhW08DdvSK+LoSL0De/2CoSewqq3+aY1tloCFsV71yU6jfIpIpg9tdOE+VMLFhASWsKglslcAbTiU6tp1itpDeAXOG5Ao8+NpaSAKsHWaOlCIw11FcaYjB/dV1bj/GNTGpi5fsgk0SdhT1abFqYAkrIOtT+sLipTXzwQrJeuMtpu+J14brMhT377u3fyGAC4YSWL0aGiocm4S/l/8fDaejMFOrJTlKJ2Oiw8R7FI6f/wcaLGawSjp+0KY/vdEzE/RkZM/N8PJvcQ0Relxs/PWcNDpLzRn6YlQVjKkkkigMq1jvV6OT6k+ebw+VCHLpc6HBUIpsIv+idLdexfxLgfYFz/DJRnB/k/FzcRhPmK5UuqOShl6/93UVC4U7pZV/XZI7CHxyLac/EOOwppQ/ut6fRhxrgIjIF11WagJ165E8Fl2OxrfU8Mm8s1OxsQQsUcecAORO6ZS3UvwU9mAfnnylD6W0npJUbmp7jKpq8suyVrt3cEAgNvu4LB2YraqODVjMy/tlQLJqwactpVgZyREEX9eutUefKrxTQAZwZ2O4i0jCHK6ei6Ozmlqe5cdU350jcSdXvWVrFfe6LECLwQKl6ukhoWUgyLpR1vCclrlu5ARETYKqd6e2arlhPB4Ed+CpPiW8o2sNBKpPtIfvvthCVx24vwKEWMTD4hpZnI+Ofe5dZhvjD4CCZXS/OXfpvpW/wpEi5qExDD2tfI+G8aGV+KCWD4uy0EmJKhkyS8Ha31OkHrm2Kbwta2nOdqrAj1oTiriYFNuP38OnqJxvSCAVxuZ994xIfTFffW7a6y9giI9M38FliXrsK/qAwRDLee5N8QI1IOFeLQSLTQd0VbkdDuU3VIH8MpxmRQIQC6iNpDFc914/gIJFAvN4/HGqnSzAw3favvjDO6A51LDYqDb2ROWqMKgyCtu0jTvHll5n5ii3txVVd7s8lPhCD/mspelA2AZEwjPHgE97h30sZ3pCDzok2Oc3SgQPjJxMdxuGCvH5E6Rfz18jdhxQgPqk7Gx/mVLApF0JGgMVAyZc2c0uZOM3cgyjP7OrHzxGQhJW5Y7ee8kNCgGmITYvlG0oCqau02pGTadlJgCFn3ctK2OLXJ7f1Em7VSi5s2ZhORUbNA2bsmJc6F5lhyOpC/zNZKbQKZUJGLAIl3a4PyubbmNNJ6xEjvD3UvZG4yGttgFhI6de4FXAe00RSEa4KLcvu9CgzfEESPAXL70dqfTHQ0AHhuGDYqbvoH0kNT31tXfA/CnLkum5GdPm7OsrSaX+w05f25zBH+RXd9mXA81goM0/ZjG2uvTqjM+M6pRQipwZqOMdP6M0xgvn0ktzJGuLsDWUizqXXK/BBfNnMSXSWU8oWu3gMGMQPUOmGybVliWPMM9eMP4N7gAn9YlWkYO4M7P8uFBt2FBvsaBts/fSYNHWD+BwrkhFrrMaib3FPcI56aftuQni+spTeVNQuNvGNtupAYTg44tgub3pYZZ7Wb46ogMUN6QxlgjwFBSYZRKcB7XSg//VWvu6gwrDW/UZxQZQ7If5PPN0qtAyEWDb2s9/FI6zeMcZ2ixGi3ctJy3oKiTSmBqa6r3P0OMVyDQqw4/jzEnUEXs3eOmkTX2e3QHdv7iE4f8R5dlShFk5HRTdDrL36DFI8iESE+AgiVpGQygFFFDwJd3wDSMeaB09mQTUicHrsl3iNt/7GY3NLF5lSouq85hcPJH8GQz3Xd+uHFTIWYKfv+mYSA+0Bmh41NT5ZOBB2ctco5F61bQYI6sQkaD33qoA71b4Pk6ebpToLyiKuTWspiHcSXP6/ktIJ7PWudUNOth1MjU5/H4EtFI5CJYNYHVs2c2DC6cRaQEDua9J+F2/Kdy9bKoeis9CPDFLuAEUAf1L8AuSUq6q/+QZdC3x8daYPEepO4jy2uj+SXu87ws3zheabei8YeJb1ZIyS2EWVS5dZ7r0sBiUIIqhfMNdepE+mWiarnEJLSGJrqKQ7f2F5CsDq8a4VdmJxZSHkWBi986N0AHchnhQGCYNhDC1R+jkFvD8M+u4VW7p3UbQmEGiAGapwDvsBhHSLe/VoaC6u/5CHyoz22ja6hBnYc/9hPhbvdgNioAk989xr/eda0ILlLcnr3KvyzWu8NG/c6051U0nzkqGqS9yZER7FG5KatN7mHe0MOnVgngvcKwszYiJcLyJvNgmyoO4iPLVO8XEKTVwArUbzSdGUbUDpKLg05tIEM+1EcpBF2zeufNl52EBSLXLeEs0FYLIrXCbnXpus4tzBwZctGElNrM3pRzmv3pTn+qtVcMvduJ9Kdm//HGdNRJ+jdjryHobv6cMc64YLQTya9JQdtFztEWUKLwufjhrZZVtaWZwigF4wg72XqFTM23qmyRxtP6xT43myK6TIQ0QHnYxtye49/93kkau/G4i4Wkv4Bm3WGm1+awoz4DluWrSjra5zjWUpU85Buqq/Jll73ln6tqpDpfaphWaUdV755ZRSILmEhzYDcgiGrPMGF+q8F1SmUixpq7zIqEsUIcyTy6MKcoopKwMnU/JXxW47ReYqSQnrdcudTKEmpjDfWzi2KjhjnGyF5LhmPzMlOmrqCK1dZLaOtINNIpVCzqlzINDEWHV1x6qtltfc7vMgdRRZNYv5X75QR8m03/EXuhMUZ12YE0J6D7Fa8kkNPUymqo+YupRMku8ZYZQHneZ2x97tccOYD1Gi0K9lCeBYnz6/YHA1fO4i23W8E1fHoBXHOq5FSl7pVam/EHbo5cMuRzeZHg9KY1q8UL0Gxk2HcVoLwECkKHYRYUzBj+BSxyz7GXRkOj2gI8csAlLhD5A+HltuCl01GJh5Eb99YhT+3sJSKikSM+nG0JrbKYmLKEe0nQxUqslcY2JzlkeN4g4A/eOl6fjdpAZ9Um3VWU8Zz90v82E2YaEINY1IRUhRLocow6IsZylgsFKcbSKFUFlm7CJk+dgRJ94pVjBRwQnAlseuRA8ixUaOPp5ZDd4hTQJSTKqiLrB4eM4PzgX2C0aJ2F/t9nj7LknsR19PHILNKnfl13132VrIYLS+mDchh8P3aH/1Oxe4yDs99Vg+UBoKq9TpGcvznq6oaYL6Xm1xnJiGP/AUQ8crkwuNZ7uoofdUJnKbUnKh1sE+k+biD4+QDtugkSYZrJrZf6kcorjLTG+xt6VKTG3YVBJRTTENm9XYuZJkbmVvvM0rDAXHQG8J9YjiIEe5S2sccnrDfopz0nKIrNUyUHYlyIrjNXceWTfo6Mlo5hX7NKjTSaA08Dw2HwSIsb01W+1AFWXY9o4/IVqDU3YFHxos0co3kA+bPUtecockgYvZ9DV7Qt5zww3CkYKVs/c2fZL2+DTifs+WbP4kstrbwG8UYAS3lFzy4b2f/T74LScCMrIpm/HkTRNXglJD4WeSUQM+E6u3UQ8d0iqV8mxvzgh+g6errAabEN7TaCmGx5RzZTQ1SgkA0hPBeaHCx2viZHeDbTY5e1AOCTbr7lih8qY+2o2BqVLGop3XhOvVI5fkaORP89bKqldCesQJxowFNNqjCK+efo20i/oU58YyafzD6heP+XMxOl6i2qjOS6hqxFVJApaGK763gr5qX505jqxTHLYbJ14ZcnHzNSwS7m8/y5dqonaIdTxqy4QgDGje+Cn7PRG4PwogvZ6PtyDrw35Hy5MFlhMfvyOsikzhJewh07zc1CvFHJHB6xT+EkXtfMfgr3EJG+oHmGJG04Yb9DCnagh0GDVBhvL1V2mfWlwBjsFo1Ga281fQ4+ask7LLBaeqQeIAdFGubVOorr9J6oAlimNNS/3I2PUvCxSGP/SE/VPMHBSEx0og256xhqku/82NYvQsBjAfSpHc47AK61WZ97fSDtQnG+xSHiiXgd3Te3XSvF6wqEhbDDVBFoMQAL01YvDoXopLAbt26DJywiuSZFczqRVplg6wun8fA/fhjHo2TADWMAJF1Un/fHEikpu5PJhnOOvautNlzA5KZ8C5pYZEpuif8P9lk1X+opT3XAVs3bBZCi+iFKZ6fvCiKlkqNDMMW6KmWbtCBavTmRFcQePHj06vKx6isXM5c9QOhL5m35VrKIjc5CZg6SF62DGD550JP6tbO0U+D9oi/YvEVGCugBt3iKczPsbX7mwkWhETC+LetxhlSrhWFLkFona6RA37NpWvsuNPw/cSzPOkWFjzWBaL77jt9iLwDcg4B1D+Kh02YIBOFW5G6v3xwi9MRE3b/cD9Bjb/gq+l4K8DFL/9oBLUF57/Xn2r5r17lXPn2j+sITnb1tb/SBZLfjmKtHNFWfdyRzA/G+B2xTPb7UAGYoWU+q2ikMFLeHChKFh1m2IgE0lWveNmA1XOCqF5D4shOnQAT3pJCoMki/LfpjMjLjLOwawrMo4Rzqf1ckrkkIyEkB+cucG9aEvZ+AIokJsYj7iSqAgYMAOiCoC4JhMaaC/OY80O7HaUWlLQRCQi/bV4dGujJDVIbQWhWuhsAZzARfd8P6ydZfShsvTfdPYA0oXPa3uVzZ3mfEot9VAJglzXWby34R0rU+7EvpB4IktGVJiVwFNkeJxA13Wr81Hi7K8Zv6oq/Wm4hl7HewQXNYDC8Q46KkfzSNJ6qedwxqRj0ko+gpsa0s4Xhzd1US0uQ2yvcJKufm/KBau+78kXww/1CYLjdAa1db0g3DfQI5Jwba4iXubu8yO0gwJOv1FKRP0Ds1hloiwpEmSwhIhlFQ1HgK9zBvg712eHSSrb/NBKU69UdMw33oeavf6IlVmg/wjeGBvHm8uiNNApTNdPZtcUE3APrBzWsowdEzaYvMUkZhFx/NJGyW97+NRut1in6cuOJjAxLQLfWqqZaU6ggOh1n/MuppVY6xZd4agJ3riKgTmtI1kf+v7gL3ILFJvmGIvt66BlGK9us6DnAZCfRhoUV62Es+dAMQX4tzN5MsMPg18wBh2R13boAKvvqUiuB6mgcFluqCI5SkrSc4Dafi9BmGcxec9e3Tm4g49SAQkR+D+cWz1zCeIMTLIErvPVmk8uMnMZ2JBhoyRYWE7dWXl/+m6HYc0MYvax0wDjBoLbgaycQp5N63OgW5ZbvvGq2kcQX3wYCqw27FwD9FrLnV/shPjqBkOLhpAHT1/LT4HJNjRU1EjIfrsoowTV+SDLneJWE6dgsukSscwpw0DuVt3/SlpqlFAyrtJyWv9k0rcHzk2Hy3cq3My082JsHnJcW5di/wcVWPsUen0TYi84kaceJxtHr5IjWWRmwpW+AuOBUfIz0rdycCS5W7nUUJjWs/qU2B7d0XoIfStucpJQktiyjCxEOppUz69HubftBtO94YHA1WpYrgBeF1Mqw4OW0JPd0PFIpWFrnl5sI6K6IR3JWZj9NjRaIbLgxiWIUIl45FAKxLKD8iiLNLeGJWlFidJxF+nhBTd8mA7/dbyPKCcWhqce67VS/BJMFQG3P8vbitxPPxQQQKniwUZrth2Q5XpJTMGppVwum6+2tTvRRbJZHvV1POQykXOxjdWX4Wp9bnETzO9WVuOOFZ3BDzN5wmhP2UvnehnARJ+lrGPLoCsVFrxNM036BdZZ5lv9vGKAg4YO3dxZQQFZQLmRjeBSa1ldG6xQ9CcCzSnhV6MQaI6bex7lG734EOc4PbciMPFej4/cJosOdm6c4ypOK7gZTXVF7y43+VGywRYwHKCr0Zq14YeBAfxpxTu3+E92izIa9Ab5+nKuEIsh8HH3rpqn/dvLXMkQ/chPLXWFSpN0kvIz0Q5Abf0Q2vlc4n0u4Varr72iPhv1TeN8Hy9YYCf/+hcA7noGDIl0dVlPF53K6ut/YWFEm8Z4VhKF9lmEX1B7z6oTx++QccZ71/l+sI0+3+VEDcwRahRP9d6a8HIEUWEzEWTNV6NIdMy5Q9PV5Zmo9Lb94qCo6nBV79TX7NtW9O1656qWZqzZ4RRH3wpo4iGEVANAzui8m/P+6bkQZ/uLk9lxT15G/In8m1UGkxTDVudlqqWOa69c3FoTMMpHywqV8NhK6JQyuDgvrso0wwBbOHs83xN1cG1DZvec6hcFkksThZfZUIn7r53Fx+gSfn71r+TATW3LNR/dtvyUglbubtc59rpcpEvVWXAk2vx1xG8r/vJCMMEoGGBufe9cpC+tFbsY1r6IGF3HyVPqe009PY3wUmkTL/F83u+13ynxwt9L5SOU4Hz6W58YGT4T0zeUYN0S45j/PdaaODAh1RWMfbPPnnlrouJ2imeEqObssUXf18pDxUE8emeXIm5a/0C7ADKJ18RepfQNlndM+UKddOgkwJWQ5UQIaQinAFClcwQ7je7VRDHa4q9fIovA+qn/X6dz2nRhHppuOl4ddYTcoIndTdhL5f5xMsRUmDg4RT/TrQt6Wey/jwjf1F92LoDL4P7KC6BlX3oWDL7TMVdl3leVdL7tqjgFCxWMyF/DCs2mN5qecHypOaAItIDypslZx8xHu/RkZ4Zmzhz21oBW1b7c+Qc+MQm/7hYudkwlz2X/B+PrbSoyvbaqx9LX6nnV14tfpr1S7LU/nRou+6xg//AxJjByLjXJOPfbro1qTXtIyGdr3q2pfgT/icOvS4hML3oUbQdohmZdlIpsotAefEm6y47i9vOB2Ik3H6WbmtxcnnMGG3JYQ1DKTylopGFf6/KVxJ6zqKoTekTwpwXEgl4u83S3T058ckzqg3XiwPPVjj8cGj2bWw4vmVgLx91ZNDXob8y+Lg3NCqdpcyG5pG+TXwtjVvl6YJSiXNS1Mu5FWU9UXjSYsITnXzhtDUlVAASCnwBejGPA2T2ttnteNAhXmdqYajcbSsBHV489HGXobBYmx566OOsk5KNHPe/q+8+UqztCVp5Js3/IFnxJrfbxhXSfCuVQ7Cz/lB39AEYfmkLXvcdnvmp1zjwqHEZ94sK0cWOYVW6Bbn2EYPsSe1mk9/IZFfjuvDJHy8+tyCid2FoNIhVmNfpncKt9L7sFC9l7yLi/ZwiqO1fJetXQ+mhHhuzC208U4tY0F0qjxd3pssscloqOzM2BzJU1itNBgyOP8GyUxa2rr8GYwJqrf6Bg6P2bCjXNOz6VLUit34tGQ3gTUNekXRZuw5XZVl5EI7l3oTJAq2k0mwSv9vv0R+EmtSu3iiTlJA/uTQ31WvxTpb7VnDueXvwg6u2gdipv+GlcEg6JhtLwoF+gGqmaIFmT/+ugq/EP749WZtUMlJB806F/MXwPGU78fBgU/CIiDM2fHXVAIJevdb/v4qPXc4yFJhuCKtJV9ZKslTY0rvan8QzNpa3FxPAulvP5tQNI4L4ydqnzbCbGAspQZobL6t5eQ21qHaN1JqdfaU2ULRQe6wajn0xSMjFs2FF9Mw3DD5n3fnlZwr4T2DZg00ICCRTQcdyX9wavGGhpnWgDlrPuAGrEvEX/CdiMlqiPyyZtpsiWnTG+XmddpwZncbjR9GQK94mh6eWsav4dRw2k7IdKrHyWor0i4bN5me/u/AWM73FTFUir4z0isyBU++ttRfzTjcWTqMB4oKa0UtrvOymAzqM+TocZfYrJE1elJRsw9skp9eBjnkyZ+5ZotqEJnr9vbqWBYfBB1GdgFMhhLMPjeaH1VFncUro5o912zllSEiVeul89R3/VgC9msz4d04D58Z95vqwMQEUzmhjmkIHg9V1H9R1YapA/z3/i5WEgjacPcIfK81wOoVHQah8fpxPxbYq//0kxf/W50ijSc0MzB2Mkv7eiu6hjIO2SsZiSVQ9KXohDz+Rl0fdbALrQcDKa1oIq2WI4+wjoRb9PnVBOd4TIGflWwsl77BY2tt2tYvjLXJM9CNvgalX+bJ5BCTykaHc5YpSJ7cOrmhhWXOK8l2DfMp7ZWCaLVPrsy4lz+qNmEfCcxLYXsA1YEb2wI7Lnkr6noj0ZyFCxZ5LT3KlMMQZVx2BoHVXZpbQf48O/LbMSpvLZJyqVSCvj1+VXJKaMrgVd+v8POHXt3PGKZE+rHYDsdZs03JGtYNsG6ez0nLYKdkzcIO8VEpZBYrBHKtiTZa280Gb3/VNvTlIxJrlNI0RuDp1I2qHoUxzRAh+F3opPAlWHLm3NtT2Zz28mzaA5rp/Uq1z4S9WGdkiZte62Hq0dXq1d6Blrc9Kp5XwFuA39kzRQzi634xTajf/7U4xreWxYFYmiQSqgEf24tmeMBzsnMlQfJrPEN8g40oVySv2/0Bn5NBwAg92M9x7jB4/BXzj2e0POM50gzWyLxMvlWkDJ64ezY+OSHANVMmGWPsmbI/6Q8J4KedF3ognEjLM+XObAaEaZ1JKTLmvGm2xf7Xunus5PSGZEWPfwRPI6OY//kcM5/arrMcTycKldnPWUmHeHK2rCwJX29bZUkq1QaW8FVJSAcThDFj1qODriqXtBu5x0QdZSornrS1qDi7lWpovephxcHu1Lhe78wfFXRAgxX2Majcq4H+MKYYsWr/1w3/VYYB2rPE/bG83HG8qsm3I1xaPSI4iLMWmEioTnArYnNY3IzJKjbuxLPJtGXIScQWiv+CjuBh6xcNSz5AsNnG1JKwcy9MtVQCQIv9iwaXzBEeMW+ADv5RNYtibtQZjgjFFZrM6Dmo/gBUh4fd/GnFnoM7n0b2Zd9lnuKua7XYRSkH+I/deI5ETC9FFkgQT0nbNZySpLWUIvYWdeogfUnXOXA7mRFzsH1WgQ9FJzHKcJIWsXBzha77C7aM2xkzuDGbhrRkRFbrXBRF7DDaVKFsPdne4Kt+NCTungMePw2DfYyhXK36hiBZPyCPKW2fArpreCM2kouLSngWctVaJEl33ul5VS7ZMIwiWxvE3CR8JT2QVF8G6jYGDScZBBB241azekmc3nEVwgE7VUPxgZ4ySe7orVd8j7mSziLXlfJaExCqZM6uX3eqDTI8GRedB/ok8wTMQ/xwqD3IhUi349qRdMoQtDjdm9zzMOvRT+Mwwgo1IxDdU48xnWAiry44FoLcOZyG9jOT8h70f+FyVlGAb014ePpEuNk7aceqfPNQE6vMzmUesregGduc8OQb/APV9wemmwsmk9jZO9kMSeazdBty9tMK4x42ca2//gLN93mjG54jWpyELr7/P06v+zY0Hy9LNFdqdGnmQFX9JbC3KmHVeaWXnSrl5fnrRtLA0FDLpAoqZ4ZhaY5mB95XP10Z3AYLiLVHzuv/G9ujQbPFIKkP87uKNiXZV8iTf0cq9SklDm6k5q55jXVUuxYwwP7w21f2kPPfd+6mrJ9MIt3QMnUs9GIzGFyF9dXSFDIK78GeWerPasAY2beL7YUN7Zsb7ge8rrQKdtJnPk3umOLKbCNYY/JG+nm8jqc1EWGSiTuEJ7K1hIdFbAiufeAt773RDbeDi756xTzdb6UiN1j04IDLKFMqo5Ct9hmZcuJtrNv4GTWbjJgOUT63QwAOps4r8mCEsUq0E5CAcp1mnWsdOT/IqbcY9IFfoWhE7V/MXBxWaiPRo3pDVXHeBAKPJ5c9o63T5v44MIrsjhgMEEZ3MOg6r/MYD03DkcKxhDl4C08qcXzRKgsM/1H1EjmdVoq0daA5J4vVwnCPuxMeOuh7Ixm94Lsio6zWPlTTqFAK0aNUYKnJEPtT44ejKv5DulsVTy2p8G2jUifPRZYaP+kPf5+QAbHa1O3/yuKN/1za6MNM/TmKr2oFMhAxQB3pROeF3NUyV4OtX7jxhGXCBbqmGnqC3EqJrjVqARecH998MOEmQNb8NQTQlTi/xGSDlA2M9PUovC2YupnXwi4fqPtLU3Eu9kUMJRXAbtPxqqnUj7PCfxf7CuY7IcuzbizsE9QJEcFpP6z/o5aYD5ELgeL7Y1y5RciImcJP2JnxDqf3+qaGdPBHP2dkAws/cPk+ce9VP/J44IC/UuqCzsnqkA5Cc1e3cWTCp1ctsQHfwRxPWHVRYIwSu/saBDzba9tzjYveKSujsfJx4uG4jggLIeWJjtGUMI065GEry6acom99jC4jOW3Ooul2tjpQPEyCxZWTfKLL9djQXfeQf2xjyn770Nh8V6SoLD3NRoFFFeeq3Be+Ppw8uw/ko7PUoSmrslF0lKnZnBCjBAGTub9tkjhBByU29/wlKy0T6iqn54FZlGMmZjf2Ksh3kYs1Ey145PlrVo3D/GxN3CoVDRQLZ68y1gfLoVk1XJTaTLSCn1AFRmOJTUHyY+aZABMHYilqKjA6UYOCmMASR06udSRPKJc1d2JVXhmt7392+ISFw01r1rp9LlrIxegyj7RVwWXdAtTM7wFVf9RvC21kAnqAGfF1unrq1kvedgZCP7it9aqYXbTngFLulIZCC6CNhtHtWQAMCI9Ah+4nUWU4sRD1d8nAWuKei2Mzitilt4h5/Dvm3kf38n1wrJvZ9ae31+lGJbjrHMq432tQlTq1CTGJme2r3bfE9zvroGea7nKBuqT+mp8B4XlW8sS+JVt682MsNzqQjd5v0QtgZuUqx2lV/2ncLFxD04Oj2c/035lWjU2jp5cYajyJtTYabtmCDmfO/C1rTmlel42JZPieWw5griDlyPcsoUvGrMv255l2nMFUdsSDBOCJqeDiB7Le5NJfhUoURIdP8z0fYIc2Og3xlO1MS41M+f/qBl9qaxgSXHq+xMYWe6IWEG5o9glGD88oOjvdjjeInjISNR9A1IoJIuxbcypAMGTSsCa3Xdi3An3Hb+OfvMXDFP9w+OeKp6jeN6TTHBvKcTh/eUEw6e90OK7EMYl8pv2bhlJbWu0e8JvTiWPOTljf+q4gix9prwX1J1gwk6R2jVgiSSsXbeHlouH7jxVy1dVjqIhFH3+Zs/22QRej7+blmwelSbhQXtwvmTUTv5qzxlkq/jUnbcpHlRqaZDFPo7e7+BLrMG3peRxsUJLOnh+cYY1r59wojbjemZx2Af4wJTOG+8WkFDJaDIMzVSw5RimdToBeZGxA6TjJtpad7gXcCPpwhulmaCwzxVje6KBVOEoHR3yjwir5P4WRFzM6OtZSOHO65moNyNPB4fgJXUd/Chs4lWTW+C77xrJNr2KhPOf1JofDzuhN034eUYoTYfvyzLRCPWdlMfibOrt7X5tX0hik3b3my180edarFKDt48JOBoX+CRTzTcUN375qltqz/H78TDxnIhuubECHt4xggCuf/cYUpgtOGTP6KXyz5vWFDb8uv7i7qYw29BsK8hRoQhCNDHqPyT2xXhw/WYdM5mnehPbNDQaLtcW1p54Dqz+Sfd1ZgHf3AyjDTNNIKfDrok6xCzGgB4bYI/0MA+tx2d9dUxLv8pu7+40A7p6AbnNGn4FTtqjWoTiowFV+b+dnIHGmakyIOjPiQuyZKp165tPnYp0y6j/kVsn5Dg+E5+LptxiLfgF3CMz0MQKS/50xPCXx5aSaHw32FkLIjJa1uP16hyuV1uBcC3FFiENSPS2eiIbnfUCsXXP7sWRdYBm592haFyrAPUn0NVGhxf9wKp/Lor9cZCpGY81a2e93IdUQgvSfGJFVHlnKOm0eWXJCuakbObmoshy0cw3VGxz6b5H1MKJb4fzQlamdnF02w1Nt5AFBHSCnubuEanFZ3aq7wY2PAPi0/zIZgb0G/Oj6A6Md/CKVYkYUZ3IKDspkMeJU4Qp3VcLtLYP1gJM6WZn0xEH0/rFVL6URoQysHeS7StruhT6CWA2uot+wah27SRfzKqdtQ+lUZsbWfQxdjmjRsWqcKAjLNAEZV9puUFygWNOvjFMK0vN/gPovvYa2uPu4nHnfJDJ49R87cprqdktr1l2SaA930xtVpI9+Yl6lY+I6PxwvKLFmAL28ykhlwWl97hsQ32lntcspz62Kl7z/1gWc6YjtNGCaNiaplv1UoS7T7vuEkxWhtU945LDWHG5HCiANU4V7KfvZbgBqj51oGl2eRwvZa64g/4pJ+LVP21c/1a0j6HDbQExZRt7MUut6/d4b5Kcs0calRUil8xEhHuOOkocJ4Fq5h99y1y0MNu7wqv4AwLGIZqqOg9dn8fNKmOffo6ZqZuA/N1kiiTxpRb4bUa0M/6nIznImQiVr93Bqpxk6EMfV7q4brgQJH1sAmNSWEoLeNxLRXvBFKjQSgD+qArwZthfAcsI3rc2faIy7fXZPBCEWl+Ddlch+ZJNw4E0hOyDzwvtirQ8RfR3iT/b9o6HREhvq0TlJBOggyVIuMVBlTg5gkeycn+klOG4m7SQgy4NYNrP2JRnbqRqLhejtcqBQ3NEaRSrgu8tmU+Grxq9Bc0ET9K4KyLrUfwLrUbsMR4eWtt/6y/K4FF+rZDzow7X4AKfm+4sR0Y3I1Odv4wEn5w7QIWtvdnRJC3k0UGaCZMSz4yM/sqpgLwNVoinRJFOh222hL6x59E/Fq5e8hkW+1hO/XyAT9GeSSedEvZCv43LOESg/uiN8PIxO1bnB1IrpuhDRdG/dd3aVmM2x1B64l+E/JTNEeOkrhDLvSr11Ru9+21X5XJXrTfLA2jXoeR++l7s3UBtcS66LD6TjG6DWMbcPJnotKpd3WC+pwWHf1qEnO2kFuufzqSUVE/OyHSMOTlRgD4qWCeTBO6GQleABzTl8TOr/NOj2jdZncjDLd/GwEdlnotObA+0BFoHUCuMqR5fnVxcbQ9veBcLXtHjq4TYE0kG2dpb9nne+tO4rzhJXYlzY3JecVEs4fWpmHJxDqLyDDErrNfQJLYfwOxwjUpHjadKZxIkCt1advdJdXoBIbNUvYme9YFSIGGr6nT4trzh7xbBuUmqBK+oNXJyLkh1x+H9ZxRnOCK64e/SbcwgW/vDhXrymv8VE+jvbwl9B1nANPEJpwlmbDmNYg5f/sbaHy72QaacxugpxJdQ1NOjBh+xcTu7Fhhjz99I7GO7MubJcQQWNdoQdaoGOqNHggGfqCqru8I0nhkufRbjdZPDG5Im2l08SrmiJFydSjOfDZf2DV2r9bkiCBJL66VpPMlhcnRA1+xa4TUtRGLp2JTa2ATFsjgmQhquXNSorm3szA/1a9+f4YYbbXyXC4kI5MQt4sx3kTserout+1A5AYcfYGPCLZGhOV3rB6513zsK9iwOQWthOHxK52ZAwEHMetAkkPeGPdw1tNyaZeBKkHcs7nybP39Kpnvh5TiIql5eKRulWr1dqC3QJygZy8Bbb5R5HamrBEzlbB1Q6RAHZe8XNhll7C18j3XLGQ7GiuY72CJTpWCvDHb/Q4e3arpZijS5xVgi8UHqa0OmcGthplka4nAdj0iSVrMSesQ1SXI5HKn875/XcUv/MIjhqzEXLJiIvpQ13KSdpHFE0/A+LNd9EIv6sp2D26Q+pIicK4f2u1e70Evp41ym+W4OoB/ypERpIMYnape2+IWxgPO4PRPyiROFvY8NebIYqYSyGBcOB5pmkrJgTiBZNv7TyM2JXdKGkjK/+HxnFD3pKTJClVWOICK5i740DFE7yeuzeHNgCUbG1w0pUnFtQ5j3Z2V2ZiROEFRCWYjx4/Rwl+FkpeVxF0kGw7CQxbgDZiySdA5DsSzXYzwhnWTH6oeYuEAeIflDdhjve+DIEDGANOtP+DHbhMwuC4cAiR4O1TjVpvPS4oCZ1FjOybI18m+EyL8+Z3xVQBrfiU43+IHa8XC/Jop+zlGPs/5PYz4+LLCAt9jIgozKAffLpky8LGXxMJh8Quz6Ds2DMH19cChes/7TlIQFo8VIHuKGUUoFhXG/WcRUrTB4iv8CymcXTFlaJRegmEfe8v5aRUG/xRfavnE37jmafZBkffg9gKn6TphNs99k1+3JQUTVd6AUD85Rg9qsaBxea4uMyUug224IHa744b6Uy8Ry1TLlELfgR6C2K5mzngU/8qufag3bTrWGtmoYDWdufSHrtSsx6DqAbjMVBHpQgHIA+sXO1byFVLK9/5LPtxLovvM+kLBD3z+7SGEjg73neQdlNrDurKCzAUVdLc9snCsN5Ty1hzcJxPnYrpjbbwGZEBfNwN3Y3S18VDc9dTstP+ek+L7DN6JAVenOhz+syCjjp2eoUOgBgrt1gEAFYuY0yONQMag4O/zCyvmnG0g77s/D3pKr448AfhQCNCuLYIzGI3zXSUh1rYIvTxFzXiDA/FfrKc4TiSgc+3aMmilL0MpHVdraA++wtxNp7NbgfdE78c+g5nosBxbdhx8rizw/dTD0l0KXEgUNA8hdNEurRWEFpnGIMZU6lK/kfAPBDtB16Q70vDPsUD7sDqYXIz+ADnNqG0Axoy5aU47H6YFXgjl8dOzC7nzWN0uIhuLvJEmkhgNWCYxLHPxUn/pNvUrh/tHhQhwECIgK3p9AHKWTcGgLnioMZpxw1VYf0jFSLnV9GOKJuFV8KsNRmc5RLkK/OOTfhXzxORzf8O3Qeva6di94GpcMj9sDNO+FSxbZ8KNrsUyyyuwmnGbf9xT2MnGHY4Nwdpv4fThnswg/zuuGcpJX/OosheWloYNsMbFasimnhhvUKzIsZGD7mflwWlikKSVfZ3OwOPpszgcbR7I6TZXq82r9zK4bZdPrMSuw1sp3g+wgP4xL9OXVbL7Di6p/g4dXMEhYTKsceCygPmza7kB5xubYTNS3RuSPZYdh2aHc4gquxxLJNav/la9ODqg9i6Fcto3uM+8uNHL/TeUKCP6Bl0SiEI351o5eVMatZO/Dc9DJ+PWYn2cpLm+UfcrL55wfLlsHuusSCGUw3VSlEH01Lnx6B8r2iZ1spAZJIfLapp4LILd8GW5D6Buh56yMIbg4Dp7d4TYQAp39MWFJQd+cTB7wi55JOB++cSF3RHAkzcP+rt16BnU0gqTx3zSDLM2IiKCLJ3BS40NedvLUTL4ZWuCbrgzV/tYgtwEGGORKt+up5ECJRh+ArGAceJ6w/jXluybzhzga4DbnpOrFaU3UeGiSscnw5EpZlNeYlEaX+kEvL6bSxvnK56r4DMiNDmWj2c18pq8ewGD/6iTs4GdFM3N7dRNYyFcGDXVJIb4Lr8D/CcyB/kIULRyHp5jCjgVsbsuJGjOjkJe52P7weQrnuzkiF/CXoEYmiNglOKVIo9jZhm41OIouuh+cWEMqastNtFMR/7Yh/HZv4Sgm19P578mqI1xWnWGzkiiw++MVXG6f2vc5wIvt6xTRdp9m7JjXhNlnLh89eAo851HhqCCnnU28hEPjBC3toQb+8BffrHuonqazMvhmfZka0Ue9zL+ZNRH7jcadzOgP/BeXbQwVxY7OQHXJgNBP/aXm4ZmE0YiJ/SWO046QN9bZw57r19mVlzaiQCjPOTgTKlvX2maMAGSuaLQZoMQDKJclYeujZ9Opiv7vLsUMY3b01q/L+jiHc5FLACzpH9kSOOqLO+xrL36EL5caCGnlJrH+K4S0+VzyKEBc24qmiRZhJCOzursq2NkQtdGW5AeyM38C05F3/VVH26fNkvrwxsDgpmpXoqGmHUqe9VuLZOW7crXA9IzeBxq56Dmjzbq6gPp2Ya9u9B3NDkruO1D" title="Mekko Graphics Chart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355" y="1664947"/>
            <a:ext cx="8120030" cy="481743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752600" y="6324600"/>
            <a:ext cx="16578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latin typeface="Century Gothic" panose="020B0502020202020204" pitchFamily="34" charset="0"/>
              </a:rPr>
              <a:t>Source Company information</a:t>
            </a:r>
            <a:endParaRPr lang="en-US" sz="8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812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xRdLyPBQmwFteRcmjXfmI3iQsQwPpVb50w30hc9sSW+FFwGxu/FHm7GcQ6qtJJKu/RT91BeJj/Gljzc737Ev1AwQ4SBAGsQHR+j7pwgE7+9UeCOInK6l9EGF8PTY6hQVHdgPBZhvHyLA+sMsEJFEA9fDlJtipt2LZJLp2Lm2V4WXeu6ZzpsuLBNjx0Y1GiDETIKHqT7hxGogPnbQnuo8mdpXiKK/kfwsluxL/KE8wFJg5LHHs9h6PCBiKdLtNrxxDpYvvs9CP1xE28NmrBEI20pz9/vtQkpsGA0dKkyr93yiNCzK/2s0V79DhtihTb//RUs0iYQ4R9+2O63jjwSxIEjtZFiSTGZna/BMLP+lWegvGiIOHLQcfRroSFPxTr2U5/VeyXtx3Q8NFUME234nVRbQsJ5DKZSRTbj+LN+j5w0cDJAAEpIYqbFM0nP2CNhfqCbYI+QIf59jrxiCtR9bXVT0QNMOiTK8TiSHAhM4UjROS0cd0zicSD+u9mGs+j5Gc6LpGc4LQck4DnduVqdKP+pG2kQZkYb0RMU3XNQENQxWbqOgMkNG1MLBvHJkHbX8erxIiYnTwHdyy5/2rd21cnud9WW8gDpAqH8f9AC7Z+aDNfe2cl2262YvigMxKXYK4OlHgl0GiN9BlLtmXPnmdTC7pvRzBZlu9l+ke6aZ4bU+GmSco0liK3+34dz4ddLhPzF+riM+b7lboCRZs7yPx3iC1cSx4ukQ5DgeW4+6/7TF/+fZRFpVGOwHrJkhx24E2ian4XwutpdtmI0D+kFMszKe4aJFP6r+Qpip5X9CKLllD8uqqwkvrXJJ9pxWN2offbF9sAGiGIeoOEdzDq52Rkkb8v50njrOgVUe3J90qx2scXIQdUKtqEZFQkFRaHdHBJUHDTnyLYjjdRw7PDU7DBayrUQ+F+2AT4H8yhRvQ2yzbfTyTJExcAanwhI1t+l5tTKXOvls/jWcV8kzqqjh1GtDGIS4twNzzw4lK39i7vB2BOfAHo14JGq8uNkE2YY1tGycL4E7hpuDgtQJ5NDB08bq1Fszv6BrdETpxmQpuLWxrB7lAF2jq+hOo4G3R5/DjMFwB8rpXJsCymR3lAnUelfpJVZvP8N9BIjkPVB/OBZ0V2/XtxtenGwnhQ6wPKNmRiwx5wPHcKoDgaoAw4o4dQmG6vYbfyLYBB5PMmDN9NeeZG7MiK3QRIaU9kSvOMRXK9+kTc74Jsx+lblGUMr3kJrndjXkJCtu+4SrM+rgRMPsiKT3ApnKZ+KeoW8Ranrtc21KkV9QK750mBQMpbSkSWTfrrrmll9dN1kL+0VWse5fQ82n0eTvpVt100OCANlOxsiZXmqcOCxDzOU06SbLSrhZhl6UMTEnJ+IRA4Br+o2UGYwy6YgNqwrO/y7hHL8q2KAll9GF+ovxvYjH7CBVHznNteZqfcqL+M7me8/hEy/b4+zHdEKMLj97onoELSbQWwV8O24LssKkz4v9UsKLZQWQUxSMy7fBQdnL0wLPo2QACG0CSjewiuYG6s8B/TpT+Q2nKWM8Rh606i2i/ZslAzkmnGyhpDY0VtXBOkbGS2uN7CWlbzxAZmhMHRuYeGrmW0y4I+Dht7CsLb3HIAwTTfdwKJTsrZWyMIjOtz8TprSTkM4mEVVMxi5AFa45BRPgIPZJ9RTPf1W+m3ppnVAwPvsGjrfXBintp2GuEDddSY9t4k/ho01+6BJWymq9P9FIKiluWL3i9M+HbZZmNriH2vuW3BrG4JkyMoOFDaclWTlXzPEo2Ip1SNzJBM0vMBBNNJRDKZJ4cS3NGd+dLERDqHQtLHPIXiL8d+LkAPopxJVepVuaXo7cQ9Feod73Vo/8JvbTJRvmRWvVNoiG3ubvnO7AqlnIxKqMF48fPg7hAvCFyML5+u4AbctA/cT93Lv6fPW/nxM4PreBjbkODrB3Bx69U8Z28mWYTKTUaVLeAgfljwaWxXcjWEfqIwbrhHPArQEDIHbcvCPEQsA4gGKy8mH1W7Ie5qWvzmC78afxwGyDDs6VkFN+QqV39BxeSxLwMwbrny662OgL/Se+2hhkoWkdLHqvsucPqXVs4hL/iw2Vr3cQAVB6xHtu2zHSvZQEXSV2uaVR74vLpqBAoOptYnfDLf7+KrRNEx2lFTgnlZL46rljOagoShMYRE/ZWnOCtzO2eaQyohUDwzH4I9LtQ4Lp3/fB7zG0cYeqjSPSGLl4h/pBI2fKR5lKBzvLDjdXPX64pi6YV/cP/rjDauNt0hKhC/vFGQiK1kjosk0lFIS/4hHW9I9TLdePkms/dyA4q2UP4h/Vv8d9hVfHSIKjlWn1do03hZXDtDKLaMlm8QwzeajrPiKllEGqEAC7oNmG9ALch9bDEA5vXQJQrDgj0dxXeuXSmF4WErTYS7SREZqFyXO3D+5KwoZ9Amm+PimCu3z6L/UTC6l9PSshIH5a7QxPC+jd0vh22gSy/ekiADwJ+xRLdlgEFpjZYfCRIBXUo5cU4EMmsdz1XzZchUTTHubjWZnpt5o0BFTaQXTF94xlhS/xFN/1s/0Zdx0iASlK3gqCACe4ZFmPx0wa24AYHyoWxNgOYtphCnUu8QZZ283PrIAilJssenIAHV5BYCQX8MoeqNQ3oBT3sCXoGRxk2VmCRg8J35ugZPn8JwQpcNniCy2F8iWkXcQ98XrxQHvSTmKVZtymYs6FtDNGnzrp4AFnVhEgW/StjU7YQ+uj2xXJK2eVZ97Nic5LR01Em59sgtbPDHgGf6X3U6KgupT1JM6ai841BqatS5D2pQFFfAZMYLkhLXKThukCyazRHMqGVVtpjKyQw0cL1K3cEQHZvrFNFagbs5U/jTEsLfd0x8y4AbMGY2d0v/wT7kKEFP+EihIqO/KdcGzvSG4ufRhuOsDjB4vaIxRBl4ElaeiIL2/GJ/3Tn2VQIjDxwEJJUtL4/4rd8IlZz9ix0CxQy97XRPaMSNfwmiddPyPvDFECWfpxS7dZZ28TpI0eqKj/xjgBHosl88tZGtOek46K5d0omsylCHnUFn6llxNfQ6yCci3vvUbSMQtkYIZfOTETGVpb98sbhPI0xDe7nsRuvSIq+cox9RJ++DfeI4CBUmhU9SmSpsDH8Cr58D3LSBilz5lt01eEohUEduAy9tBWIM0YXEYilhSLpXkP1IYVsJJRrAqtbucFZcgByX5IL9nfXto3QXJptMbcxvLyxjOIYDGWxYCMS1cq9YHfh7V32GBx/abzbNu+p/vTmVUyPvcIeb33Yz90KrIpkX4+AOJSzp8amTpoZaK4zbfHPI9PVJq95xh49unIrCkFH12zXwD6CSWpw+sTCCxCEabxVhbNlUNVhDvYGh17C8kM2OfAylIXssVSDzpkmSh9CfJHc7h07qPnCsGEeN2uz60wjTBtS7bx+BJfRcfd5TGEqPDB+x4eRlDew3eL3nMjS+NxXA6/Y7cML0h581nPqKaI8l1DcyDK63KBvQ0v4o8J+3Ri7InY3u6NDS3iZ3CGVbLC3oQWjIBICQUSiOhEZVCch3mDVFpRAF7YdngGh5gUz95NFbdggEbRdX4waMiZmFOZmaKd9cs71mUeLxEImay+dSi6rYv0VE8WSMKSRD8/KUt+Q+vpRBB0l2oDhgc3GhYRRAb0kHWrtLF6EzcEAHepR28vRWqbLQ2TND5uDGkhVN3BwU+bNv7rqJvxblI0TsG55NzkEqOaFs/IICzOnZYUMnWDtoXUjS9T2+9BGrqB6g9ygFmuBmbuzXMXm+JRm+1ykNVzP4/cB0GI9+p+ru21qfR+kzGv2xYi/sPiMCz6W5LwNe2WBPbosYLRwrXBf34fdLX2fMZXm1r/ENeF9yiQi1zm0ldN8sGf41Fxnhzlt6MGqVRklc8/mbaokOficiOs3ID1a8vQZ+WPOZisXDM6e2pbbF7mjfk4dY7I8OMP5WDlp7Xldy0HwJFzvPewxtXAPbesE+Feki/bDxyPcNlBXrxKUEwO/nJ1oEGu//SZJLJnIcbJ0PTwpAhmVStBab9+/gcpDK+czeNvflXUk/m73S1jiPU7N94Khmq97AIw0rJQ5cZZvxLTO3XuRVdikObKsPbgU4BJSg3MZTCOedGAf1L6ZfZ8JgwD2DCKATqewcphNxEZk0hRk9xxN36tdXDRcaJmR1X4GhqegLAi2A98NWMU+3mlbC/crt4pjkebp7yMadswQ4t8CRZiRy69rxadtNR1QUphN/WCQP7rWnaxvYFCAtrfN9vGVqMXbFIDsOpw1Q8HiP8CmpizQnIEJJya+aeDBpExU0jaFQOi4gV2fy3WcBUj4JKKELf5NcIFBBI0Zdna8Jwac5riiMPHWgGKrEufH/qI3I1n4poLLrOGo2u1rIUqLpOY+SJ38Ati6u/WPM955vlm7/1ZV0MRc3n065/zcAi/AwZ/r9sTGFD9cQjRlP+dwhyeAigdJTl0u/AD82dadCf/fL4qh3DCPw8bek4KRM2zsTGeiivKqX1oXcqGbicphUCIn+RWDE2dnPiBjjnp2/71nyP1bxa4aV/spNHt0MWW/3ovMEiDQ80JjZyg73GPo9TRbqBXd+z3oWztkNF5TVYks9GRyT7kFR5wKqBYYV76HFM4RM6Xk4g2xcMe2H+4ebCHb1F7aXytW2M9Vd0kg7l5H5ftqL/zImVustYg9nPcaWc7BkHbfZ82d/au1lmMpUh7hTpWUSjZeuH5+/tjczQAUTCLvy5OVgDjP+GD65tP4dQaHnNTcM1pjyS+gKMT0ZhCog0SOey/1PmykPffMEZQg38sRNOHpHEr8Mn2+cPltXss2QBsVzG+MszgVun0NN/wEHkhllhpm54AU5vvJV5UJciTl8O9svQXgnJ5kvcuY3nR9u2byQ05ucOhR+QVyuD/WnqidmmBU2QQxFUT3srKRzLUE5pyxLVuDupTRAhVdtRgVUoSdfrWQZYiHSttpkuJ147jjIzOhsKk4pfUnVoqSGKmjkDtQQibHuFCC5vbT5Gu3hPBxdJVd1kpDfaQWMo23/HdQcNoR/qmfNVUhJMuVecDWa5IYE691lPZGfKYFAWSdqxVJl3spoLUlAZ2mJoij0ZEkBJujeK6QVMylbM7zR1QOXbIUh7Q4fQxiGq/2prHpkeE4DKdiIhxQEku3q52rbdl7mKHjUEkfumBOP25qCnmFd2NMBNajz9mJi5PU4ulY/Wznr3mQLneHNhCYX5m3dc0bKN7Y9oqVIJgEhTwgG/+cSyvAttLJb7IoRdkVnyLsJo+4BUwKlsoj9ospOeuAXgluutzdcPrju27PVayD7Gf/g72nBvWQUOTKylPbu6RhmIGLwPyvwEXE1jodEfIWGPGXTt2S70ylv+Gljf9Rai3JqhUzb09ChYsHQVNPM5UCsYe8rpejhqaXS9V/YIOg1hnNpVT3tokI57tRhiI1cueVPZqU3snQPw4S/nI63FFvRP2cyVHb47rsnmq8YubIJDLXWFnyrtGe8i7ZU3oFuBqYTlXOFP1tgeZQsEGL1qP4YsARWD/8/PCUX7lguKuodsAFIGphVwZbm08nMFb5wZ42hn4kIBEslrwqyl9XvkUdLsaw/9Eca3L2JhGdNHULo8GH8MaT/AJGZAnwC4VOoSfhBl+UlZDWb9W5jHmxFabXUHW9CSYVRSSLq8I7ykFf3FQq83Aci5vfiXFy5xMKD6IChHg9AA3+IsA9aY/SpHz9no2Q8pvlrfhJHKYz/LugMgVg9JKAEPi11SDOQU5N8EDYG7SlwBnysdYBHuS4kfXbaHIRa6hcYd7EM9njgeoZq68bp+jSZ9ME2rUnxuuK4ng8Dzy2XAR/GHnv9m3enH1B4ugofmEf11KqyDIbfYxZGB/BI0KNr1TyFwRMlbYJiS14GbzckQGzp7C64cJ8brFRz9EmzaSkEYnSLeY+Xi99BnCzSzVKelJK+6FaqSIWf+JOxApcpEi3X4GIGAoM1bW1FEJqBf017XvW/dmCGFjmHw1NypcVsuf5QHPK2iPqyFAUp/bRhcnvImukHFyS8B+l60G2hMa9Hg6ta/sjeafrEYbNUddHntTZz1qtHyEumMfL0r7Ea+qzRQtLnp/qVuNW7jB18sv1Y4dZG1rLw01J61oTMJcs52r2Jgv3jygp1ppTsxTjO2ZkPAghAahpxqoPMPid6uTgGfxRLRA5G0yit09dvGokAO+bA1xYryApFX9qSs9Jqce+6+pcoCAybEJbs8ka16KlzV0CmBMz+EidHrIr01DUC1umVlz7qxJpn6OhTPV+xn14DsHkW/DC7fj0VmipMFLdR4z6UyKZbjQe3YPruiQnRed2VQkznPOv+feupFZC98YE3SQUYbkUqTAEnkGv/wFVtKb0D352KO/rneb5g/vsNsgWCiFm/cb+nGtOJrmnBtBWWRwpVko/OyvTrUAWSZYIV0a7FFOjC3tiNLvpSNs4kmXPAHKf/tlGw2cu9aBvMctwe1ixj17H2yQAtz+XgsZtEUkoqTuz3MWsb70XC+4jzkS3hYbpwVF0rj3AJjQmSP5mT/alXWc84amJN86YLu1bzpTFcK1OJN5aS8XgmyIGLgQQMOeQS+zdCDLu2y6bgEmZbfoIwHgY53IOoPi7TM6HbDJ2zxtbNQmYb8Jysr9kuW8bvBXxOgZ4+EtniunnFRrNwJzndozNX+LDhz6QmppBYY6nyV3lxJJv02rO6YCTieVE0KVIfc+hpkyiDtp71leDszXcwv5hUMCU2uDV7yXk03Kbzh+7jQ/sx+Zzvg5szMoWthq19/bmypuAITFuAfvyI7ohMD1ASPoVIglsQEBnYzeVVfrNPU2ZxQjmuuX/KQIDMmSqaSiONy3bccA/34F3oDlpKi2NTiV5xANAQMpnf3wa9HIA3Wt0Jkql321oS81F5C7ZHjHZ7s8gX3S1gAyFrq/p9O4pcaPNoTlWYtDQ9GzfkQW6O2Wjl5sTd9t7wPOllEEQESBMw5FVvMTe4LI6U1pFHDwmBpHHW4HBDLFBadoqYLZyw9OOM5Fi5fa79G78gqL+4lF7PKX/DBH3o5OkMcJsWPzDuFn5NPpU54kKabcf9RH+FySsyLl7wx/jsD/hYWY88iXohiWwgKALuPnomA6fPVbUK3tFCQHbPHDOAXGVz4tuh7bQ5fUbOqyQS3gcCGiX1XyaVLfYW0Wf5W6DfrLnMbwpRrscmrqH+OETb1VwpvdpR+2gyDVOGlLppdFAyS2qGMHx5Ejm/OgeGRzyPHVtN06Mw8cDvYSDymzXHUI2a4zMbkvCeBIa5IA5tgEFJwx/2mt844A6w6yxVW6XUH0zfUeY+eOrtnBRB8ZlbEojh6a5vNXUjXx7Gt7rHMQH3lrhMnu0O20n2EGrvg26XEUlTUz5baNOBVJxGQSAK0XZDJKuBHH7z3Kh/4I1vgTmXOnIswBBRl8hyfy+JdSfxszIQk5r/sl/bCzpxu1V+u7+D3Stz2sMgxD7wg4CWaQUMwuXU+FKe34uPO/M3TJIq5HdZL4q9yOzkNVk9YK83OW6py14SHBShJmNB/Al6rmmFbQKOdbTsXeP5XzMtcPQFcFe7uAtU83q83PHnuuEgMamZUOGsjPY78MliPODigJW7TSxjSQxeOXYHtc7leaoanLbNPyN3S6cjtIvflCpjVH6qgqyqCjChVR/THXoNk1fi0+SnAH7EFVR/p0bOj24T9XxChNYvWPe8xpfVpH2tFvBRMiwHzI0f++kJ69ojsVU4VbZuhTOTlh+mdvN7Ld2fX4FEUm71oVnC+LRI71fTweFjaJ3+ont03POO6J5/hNMqYecBcsurZWxtWcSmV35kU7JmBsKnDQGCLWh7DYWwe3vNLIAyqbp4stofvWDRUVhZfh+qnHx/gg6TDVEY1WWBNdiU4D+9dNOQejNn3hmGEMh/o/tvjpEnawqklsrp3hshnEnWaqHrBPAjvEh1Fta8AoI070h13JpnSVirV9qgOwd//8ccHZSZl2rs7rOl+G7fJmJoMTfB0rezvOEw9Qf0wM1Ism/MIiyJzm9v4U2jpMps9X9noR3Sr6ZfcFKE6qgxRAu8lQsNVfyiChxH4gEV+ed0hSKCRMv+LT2ymukf01DpRfl63WvJ8+puFhWY5gn7vUP3tGtjiDwsgZz50BXjKnOeXWbpwS5cRHLK58ctwSrsIFeYY5psHmsFSkiVdb7Scgf//xR85bT71sedA5/Cyk7/lY7XwcrEjsIiFf0FKOrNFFEKjO6MdK9o09YFDjeOAvQIX22Fs99dgkVsldeqKMQpzxe0cOZdmFK1AOTIN7ch4L5D7OSftc72g/g7S9a+/pJPnnXRyS60GTcDF5wOs+jjZploR4q3IzEovKoir7s7erKoLiYc+QJpmvp5Ieu212cRIWzlnPC7zuxRqhCh5THf2biRbHdUxJy3rfz4/H70dFiHVOuee0NjBWGcBfMM0HyAc18y6zv8CJe13wnkkorNk7E5/06R1avq9iSN8aVSkiSwqF09acEXMNXW+JuCtgH8zIWB1n3of5x6k/gOj3qCulFum0fIenW0bsJ5SXfGVbLajznlANOtnCTidZldpzQvE1OkjXa34RPfQ1nHNIFrnaPEgDtY0Afns6Fh09+AV6HG6PmZG8opA1YYd/52dUNJ7Gfxvh1kOwhAZm5Wi/bT9vgqQAr+8HIrx6yKcbAFY1xq7nuCcWxldKqmZ9lmTUowmxHKO5pWqkqibCENWksKy6cdo11guWdSBWPOXGzTVoVXKVSbVCL+JWTWp7TefuInS6Ek5sh69a19hoXCjzf3qftM0RPDNazBeR0mzx4Gy4yVXB5HnBTMSldMqDQOmXNCAqU87fxpLMQqFwyi6FBj0B7KXET88iyAtINpdrWcN5DOb/mCcobw1fuCw6NKu2QiuP3ujJeGJshHxfxoVgOQtyw4+QMlwXAp5wrQir+yccjED46Z2CSgbCgXUEfI3gv0MwLhGpD/MDFUykCn5KaiWZmSP4wFbzGAk44OTHIaaiNL5ecqiQuA0cgCNjWtbV57qn86tgU+6F9azEm9B+Otpgk0A+/QNSiUgJLHN/7K4GZFocmyuzbF/1LRNAc6fF86xV8aOn3eDBsEdX/v/wioWrOWhTNczDhecWcJs6OqWDwQk1c+a5/IyD3otT4GmiG6/yt9xSew8FLGKUr4xQouo9bX926GfFWmGH0sq8qxfjahob5yC2N2Qabh0yegrWJnqnObGwrN8e45XtXHZpv6UG6vtpIHhBy4Fxr8LAgoWELl7nZ/qkr/yNjaUS2jCHys9WQ4d5bIjYu9cuMk8YHkiz2z298xDe46VaJVGA9tIl0vpfcUOGL9jIliIyV2Wgf1UGq9xe+YnQk0+RdHKr6XXJHwDgQO5HEjIung1dzan7QdQ73VaS/+t03Be9FX1kYTqri91V0V+zHCZ8z8EdKevgDvK3dL4Yu2TTUZWC3veBqEsSLJCfGrCEvfCZCOp8icmfmQZOInXE/ewvIbvzDeDQXclldMZA5j7wgTw6+aIWEzbwFD2nDI7zS13lk2yNHeeI0OniwRNmDmVwnhvx5LFY40VOe8e8nFUJZoIWp35HG2IG99ymkD7WSB/glycwBQNAntpkk55E87xFz8w/mRsxBmsq2xyW9l4mHWUj3blTDhBGhbDm6NwJa78KiWft8NgcuZXoQao6EDPYsXmSwgy1EjhudaWIqYQlA9BdX7CJG9Hv2/hCDwHlFy5EJj5b+YRMpSaCl4xuTmImPUJVu7sH3Wv0vMmGk7L8JM6rDVr2h2J4LD3muObsMkvO83lbBm1mWPvNy9cMCo54osKi956TsUq0qRw5kffOKABnKqWkgZwSZAFhppr4HTpLDKCfkL4UrlGb2dmWrMVu0c8xdjDQLlwNDOXVAU+VUL+F8viKE8d8Yc6Hfbus/ziPExS+QvxMmhxAhyTekEefR01E63zyerjruY/TicXa3+By+2BdzsCVuDIFkDnfwqrsDE8J2QOWuyVoQf+PKFsz4Wr/+YMTDn4meHQIGVcWaL2aiavbotKDtffhuZhlTp9BKnWmaqxu31ST/LO2Pzj8AI9P9ApudNznzLyTmRnN8tUxY3enE0L4PPsSY7HkQO/frk+xOzHA0vRPOFbg8KEIbqS/It/7DAZaowd/YIEiDM4wVo2OvM3OlmZYsVw3GnXGrEtj4VIsviI9h0LmHOddZX3o0vPeVmmVqN5sG/9+B2Kt5npnD6XyYpSZCJ4rjjuEwvT1DP+gcSi0CmqugLDQPpGD0bzswuKMAjQVhhefxGDsXLJMZc+jUHChbvfHcjcGossA1ySEW2STup7D/pMxAdniLz53kEJqjoxYAEsSfpEWfZ0vdTTRRpdBo+it/WtaufeV90oCK9TjUkG/ylT09vTNJdCDzXdnpMMUVRMfO8o0BOBiilRbljm+5YWSqBIGsf2QsvDMnrtQteJEUqG96Uvbn9SPlc5oqESRpPm3D1tGBpwB7SN45ds8yMcHAUEbcJqrbJ37yKXUz04leawxtufwvHJ9m0hpk13Av5R+IiXXejT8+ixlVhqwtjC71+NG1AeuZOv+tQ/wGdTFYuFQ6Lt6gd7FeH/JC8Nih/YCVvoE57QB1jYR/EjM5f+TR9WbhDghhWVn95mV3RrPHZbx6yzOE4/o4aU/wGK7uJLJV/bcTRVSgD+6RVeKpUFeGj5deebRYVQEiS0bYWIsxFaKNVttEM89NTvZ6+csB1/s9Riwmxg5bpl7DuDEWLjcp+PG/zolNm7z/rvpHDM/QP+gURZ16w8AqsiQIDfUx7QfJnW9CDFSzcQkssyVaaAnpnjCECHvg5mqY1BSNNovaSMM0eKOANyVxR3lXwg0OVrH4PsxBbd4wx/yFkbr8dbfidjfHPAEEs6IIAW+3W2zdoMHfBoq9qQvkej0Xu9dsXsgSmdE/ranOaf0/rZvQYa5khscH/FDC9n4tvIQ+Wjz4H+6WYi6yaTDTMS3pTTg+hTme1AGXxcbchh4XREqMr3kWs4eufGQsxmeZpwqDYEb3ifC8a0qM0pU53InLy5uP2+IrC1og4nVXTEiiYQjbTykf2jsuKJ8j0sdFAE9T2/OCgqdPRf9SfisCQ3j4YukrVIhW2NIGnvzpehGsPAUiZ0FuO+ILz30ifHDnqyYNfRdZGeNKH8F0X02vImbfwF/nFUo0sQew2QwpPYP9IZb2TAlBSxNaeModEd9VNWBfGrKWcDp5u9UoL9w/bhBfkvqUzHMPSNdysl3e2mMYMcU181VIRH95TDCNEKO4dg3R2GeV/zDZQM2QwV36N9gbLE23UgxRXgXdG99vbCSONWNz+mBRoSz/Xl6hRiXK9pEbsejPbYsSEKmgKs1aER/2G9H0EhlTUyftuZ8JQgNIWrtk3BKYzPF9NMIgvT0aq3ZtXf15Tswvv7fIL3WkgGNpA286oOlkW6kZuDfpAsDMFTAxfsAto94dM4Mv/zlXMX5KOYxxfI9ZDuAgoGQR972tJoGAy6RmJ5sf+1Ymlur6CriHDvfsn9luNNB/yOACDGS9VkCpvQaRAOPl+Se3aGqYhQqBNSr16bOc0PlFymZF+0VHcDme9i8uq/gWz92mLPI4TsoOCK4PLaNmo5wX2zKQF9ZoMdzKe0Elsg4f2ETfxXJmtsaPS2jVRwW1Ap2ty3JdFr1yOUW4osuDvwZd34uUa2P8Z11zBnJoDizi8RjHY6E4+RWFzG3Yq0noL16XlusdLqWNVznYJbOjBwuQAe5TPFYyrAhjobrm40kkNeDccbB3qhOKGX67nNX/ZA+OLiCdeibsVMOzcz4/ncNcF4GHVWCr4H70kIieuPdNOgZ2+BTWrw7Y9jmBOr/y2XrV9Rk9bicR5HzS4q7pwwbTDeH6B5I3MmlReZnVe71RSH0ev6IPvz3gXR1Z+vNAnWu0VkhggzJrJCpbG82ZzMEiqumP96lXEBtfVBv5oWe6bJ3iwanIIgY+cSvNGJH5NlfOjrto9TWdxd6snKtPth1pwIgVYJazWZsoQ95RTLuyCvONmCnCUHSf5MQHaoF7ch/d/Di+OUe7ewUtOXhHAREFLjBgYUaK8ABbMYqBs3pExcuePEPxjMj8p4C8QmhYLB+9wTokpwocYHwrCn77HHGnlgR9nbgfPes49JbalVLevle5UnyC08wRHMH7ZpyaKGEVfxGC9CJgY2CIW/7sqWX43g5u4JHuRBs8JBL0iFvC9HnJ6s8nAupQN3nKGWcovrWRPhVhoOKlnLOTAA7di2+jNlAMQkqsmS+R5zh+C1/UWLGGV8ACl/PBOyVlFiId9TahaUwaowtr6mvyQZsxfcsI9Fy2kgLjCvQ2+mnhw1DUl5uQWN1fXKLDJUaY/8GLCvwDaIZ3l6BA7tgfg6e9qp4CisjXWt4LbXkMfI/xJHVvV1R6aISpG4TbelEsbOF/9KeB5YJIRA0Hp/iM4K/yk0cXJ7AnZ97nj2wFMr/wAqiMNrQ1hx3obUW/8iu4UR9CiInbdBwYygvaSXTxdl1HnMU4ZnWbu1XXwrIMWsWjXrMxpsQ0zZrnQNEr0M7xP2iVhoFcBwJJ8UXz5+y2cDDZkQzO5x6HpFgo4fqy7Nl9E7mNgvn4wojOqUMiqweZ+NytaYmHR6n0PoIrUizOeEoVupwW4yy4FrbfalllOCEN1YWtdxhUEjIDYf2jVmrDQM97gxid8gmN3HijFgPmd3dh+YpOyraRNCSY7zSEWBv3HUVAE7wldYihEE/LmxpJSIXOlNIE6xjnBEiJzo0ZBc5C4K5oEswF72e+U4dOUX4hi/SK8cXGcN4nXm2qg5b8rsZ1+I/BD6CZxTtpssUOI9kt2wOt4ywubN9BF+yJ4wVrshdrd2/lj1F53XncBQMXKQKL2E9SOkTk9KptBXvgm/7l+pGMXV/1lBJn2zvW8jDrEvkQZuKqijEmJ1gxr9gMHzNXSv7RHA9+mQ01MsbkAaqgf0c1uVPbh1HSpFX7KfGEvOQofboDnY6PRxxQS5WGjq1X1kpDIK/CfW3C6dupcE+PnIKmZEhdoWdLOH3dDj5MWH42vcR0W79RMV9lI7NTImvkR+UgT516Ah666uJun1oL+N5XXAywIzCzDSeO5VhR4vjrDVIvuBS9SBURKIgxU8ITxXzQQYHaLrBlddBXGcRw5UHA0mu30HB7E9eQMqCJ4rMbrnDFYbr/qWjIMOwWQbyQAtLp8n6tkZw5q6/imQDC1UYnJixKhEPSC63uycYaDW2MGkiO2RrPbNtd37yNl3wuLV1iOfJ7kxyFj6fs47TlCdhMg4rP6kCtq17zZIztY2OMWO73yAVVJg+RE6XFH9azBrK99jR/Lg0ighYqHQZxGwiFxVOHpWNavxBQIvPIFiCjiKIvl1eZBT0ioMpgWgDyH86jzc908CkW7xaCFDJ5mVbyHB7v2svw3ZYzSWX8ZjD3LZ3/9KIKpgpWM/Gt5EJ9tINsbHnogPeMOS9Gq0LrpowelK4NgqVtaPHSBqhDIyHDuzRx1wxQ9T9NHK44/mYqzYjSR19kFzs81za4+YsEKOdFarKsfWdumq+TVvudYECa+VEIcmXFK3O1TQbW/0iy63our7SzrdWIzJY65b9LZXHRxDO1fXlf2UhjQw31GF1+f6cqyBiiIfeyr0Hcjly/q7HfppgPriHD29LfiVFuIuCiaZRAP40h6jtBPNqfJYz8k5+x0z2QfeRNTjZ0qDJgGADw4lbKf/+Ng2rmr0G/clCpVSfkgB8qVoexqO/pdvHxraWNfHrEKk2fD51OUjDm1xCoFTu6XtOeffG2U0p4Ibz9HQ+jsLh34wsGATOdwrcrjAajsJHY9spJ5DcD1ywo514XDfDRUi+f5oVIM+mceSyUKiKM3Qsio5p1+Ljs3Xw2WwgQo30ZCeLYQV4Jaq1Q+1LXvwsAqd+xNulEs9+7tyDpzQm4Pv3NG4NHNmGSC/Xu+NKYZaE7amLI1VHEfm1sAcM6XvJUyBMGda61gv2f+RDZ8bEIGM5HTbP1s/KxOq5XHORhwlZ8B+u0A1q+wNZAtCeyOe9JocLLOljQo7xf6/nADpTu8GE91lmfTe+AKtVnKHz86Rs/OSkEvu+Bktmp4NLu3Vvig1t6USU7HmxSmRc4fZaYdnAfksv6NAPA4MUjkLp1qTssiP2CEh4ZqxkvsYpFndBUnCZTsHurDGnThNLSKwrRn/7uyZPXfnXbdyIpadfyaJN/39K4LkwgHLN1maYIjsSoFVZ/T291yz7o008NxiH+u2sKP+/Qwu8Gw/0NPOZ1LkIb/3RovBntg1TSLSStW1WIOfdfdyBAucCe3AAWK+xIo1LDBm1RV2FnGOQEIZNZBnU7n/LeCdeqz3+VbVJ2hu3jAwQWeGOEF+xz9EavtiYAE6Or0e/rLFzQLNYQ7epzzy1vfVTZc6wNK42+2z+mH8cEC6rDLjw3jgXBRGX/wHmG2GjeUB4qY6BEqvSKuTf3jjdxzKHvqbpCLlhX0yESt3QxhOPFAg69Chk/GMiYVZAkrXjlJYYRmZcsw2q+E9Wqsj0P35LRm+fTZoQdtmYvAPRCvNyWGfNoRNZwuKh+sK8bcKgaMGGLjR+yrBVMRgQeRearwX9lnx+weinDFFSR9OuVmcxoe1h8UnJ0r85lgAFMZDSQf/6Yf/mB+3C29tvd4G77GqtYT5WbC23ls/7qz7qVM6k8f3R1YHXr0LBU36CqqUGDZihKmQU9L6j0g2yjsCGWRK3KLbY+0txfFegt7JSMyVNelk6X38rFSNqBakaImUEkIV4mh0s+//mfnLLctB3ejeccmrwVG/qvrFs4JQmAqv45S4myTLbdOLZxl7xjtp27PP0l+JKU+tyvDfzPaqePUiCNDTKHUwJMRew+tcCDTUKEKhMl0PRpGTQ0ic0Icqn7FCt+gWehADiUsKDDpXfWG6XPXXDamvPyYxhq4h3KokkptieoWEHR5Ie8ZbUI5nSy85xmQ+iQvQgRNooGCfpMnyb6BOqu6WyBOhA+GzDl7y0xeGqyt0Wo5Srfwa8hRShLq8VR2/Uo+ETKT8Rk9CFXjXoBpGyMK4nZsnQ8A4QE3awYHJwxHhzb0rp9SsX8xszRmztynw4WNcaCg11OaCqE2poyKEhD4JVp1dv6CrW8JH3eqN6rBFVreKnGpcqllYeqA5tLglqCpMsEbJvTHlK+IYPw+VJxvSFrPnAp4RAfOlNJwhN6E2+DUTV+sDL0nUxcFKW3rWIkOFx0B3ptdFDqpNPOwTcnlfB3Q503wDZ/BTw+Ze19xeyKcW4NGN7nR/SEw90ZkVBwEzpgoQQ/rHjkIQ/CRy9XvMOj0IvsgPdgHAwb3pJguvq3eWOgpjA1Sm2LnZXVE7g2a+MUYgq3QFE43DQsRF+5pIah/vjWqo3I8v+bBzSTfu67ei5q4vFE9Hpta28TiWbOjAdGUL3obnpbVuotIAtW8h4tYN8af5Z81LGg/ptpY3LTiDB7oiSken8G2wjAVwgvyo+BHpo5x8fjtaZ3Hkk+AXh/EcLFJNNKhQMRtVSbVEzDoMHBv+F05U5F/l98wu7aQiuquDH3rIRPFnm/xCS6iQjrqlVZxTJ4zocTGarQh6A5mfowCx625njN51w1uQzMlym+MSsT/IAPjXpIs2NAEmMpoxwurd/72zXZ4OhMu0rQcKPj/LGoZteO4ABeNsyvv4/YK6DBlq5KRscFnkKDX7DBbk3jojdl25ba/rG4KHnPinqMDVIgjVdANqLVsY9vo5Lj1/rLCUdmg79vgFzF13PetK7FzHNStKRwD3BLYN9SGikV3WmhPRQET3O85hwGcJ54XHb6YrLIN4rYF6WfyW91a8FyBO+ykLW/9mn5BAkdUW6XywjV5bdgrhF1WUldQNCCr3Dj8UkY3CotgxBOJjWbvy/hbDMSwZiM5ypSFNduSEpCSiBwIUJL74P5wjJVfelwyCNajkG+BgeYUuAtsUvH44wBaRsrqfXl3e/dbUkizQ2aq5mCTbIAZJfQRzdVjMNIUf+OtLK5sOwVTLd9tX2kO+c5f7DS8dbhMtr/UenwTdyQj3caBUDkgFeJScm6OYyQs87PnEPbbJv+u6gHqgAM9AzfPrH0bg9Tu9zs9v6x2Dpl/gX5z+mL5sqrQDBDPHNEQf0h5IaAgenGHRTxnJ6kS7NsSMgATuwKKSB0ExSScrV6tXwRZy3gNBMqUVn8ek2cfoVmBI1prIP1jsH2B8JVZ3Hj0+9ZaScoAyi+cVZYOchT6LPs8y3Z8qLBhYF0qLbF8BfpHPk5YeWigxNiQmSHbOHFByaV3Nrc65KVvj7aMU5cuXBl4GGhaOcN0ErqDJ/9B+gp+ufN1rnFBdmd9Dw+CFqaE76OcGqOYm5Rl3dFsAXUIzsRNsT5PQxmyI8ZKamyeRCi1hIIdfQHHhEKpimuXAmRdzH0wElNsSLXoYMMuiyqzrZbbWImJ5jnPBOrFAarprNoFF1igfHCne24X4T1jD0jlrHq3TGCQ4arLZSScx/AyrJUtGRZyh+YYzYIzEVh4b1km2orXWDngDLwZqzwpRKXcGcf+MabmI7dFCXVefMTPfODrMRdrR0eKMTKZDHO5lG5dcv2mnZ9vqDn6Lg7G3qOk5w+5qHLaBg2ZqwGx0Ujge95yGNvK/ysHL/cn5+u9qVjvdDf0WGU5jaem2dY6hbZqeAZLQrYnTrrPdRBwZFk+FOa+zkKLe08bVPwSkpR5XtLKlFyxrE24MxR1MdcSZK0caFHPUn6pfNwhKPGJOJ3qeaz2cVWtR2xN3sWsh67pbxNOZCTg9SsOEOhk8YW6zA1TsWUz8QxtEXFDqVxQD5jnRUVJrPRsnXGR8RRkklWAWFkU+50JLNzJAx+1JPCMmMtxJYziX1W240rUhgt9qlFAPmz8BXWi5/3vW0lXxRHAyZROynlgsyze67N4qITMMiBzDRDal69+u2tK7aM/hVYkD5M3JcPwZV0bapH2ZF6OguFupaPI1Jcd9UbXdF15YsePjkPx2JOqRJhaHB7K+wiHHyIG1e0cddj6WArW/M3t5Xxh3KhBmZbfWY1vdIdPIviyx8P7/AoPFYbR7/FrPwZlcSHHNdiYFmxWtU2hHvMOZCJXfSMAF3KBJ1aPMZ5RFtngl8gFdTRX1rcihvm4leb1EWFOCMFyExgUtbDBVvUPK4wAA+swZuv5tw1KsYGRVhKl8lT2f/8PuKrHqmnvPqC8LuiKhpMsY8sFSaenmtxfnsM31GH5deXY0+S+IjaEpdm5sJdHYjutpH1V4HiJs0Neys5cI2mEF4K6b85ykr36zwqGI9ZNaYa5jWCnuAPteNgT9I284bpCWuNCo3SOunecGN5uqfNu96lh8MPQAK8tb2YeeFKBzR3DJeEorrimU+/IdJMKqsPcVhsL/oPCUdn7hMjbZVpNTTqOFYfe/eOw7D9tEhC0pRxJbdd1u1Tk0xP1ar5bgjF1z0qji5d88hSws5JTXCDRwGD2Ti32YBlIw06Z6neQLab+I/i6eiylObSN98yO1Ge1t4+g+26GX3W40MR8j+tesVAtAlKg9yZzcJVLTAc6g0yZhn2qPF8YRKYcwVLLwX+9Oy+oLNdnhmWYbW2rH+WGuxlSlAXDZTVKdcwgBjREZYLDyJOTzwGFSqQcrbaOcisInelgcv8L7d1ZAMF3vW+q2gh7ZRnawgLNgobmr5cGeqDb2p81MT7w4pl2ID3kY8VJgGg3gqKgt6MR2GNmQXzgqMhFX5S2dcrHnupg717/Er2/tZppNGYoGU8p9lEuC1RfKB/aT494jr7ZPON03e51z19NBr+T9r8Pq8TIuY0cWh7FmzFQqoBQvXtzM6OFqprlISRTcMM14FWf8UrJcs8dJf/dimcDo0WSpm3ze/pQDO5YksXYTf67/cCx/T0wvIxeVfQOpQTgi3t2zi5qYqSBiqblSQyu5PaQM4iG/bqCjofjO17+Us2uICk3sEH7R75RIK2bJkYk9WeSoF+WIBjH1z9o2ktZ4Wgq/eTumbO8YOpcNqQAiWuHcfu+O93tWFDqtO+v0Jaznm6Z56u4b5YQhsooxAGorIpxWPM0TvkI+VWPZ1ynwfDg0F3klgXEgNP/4Tp1hh4CifCouyEFbTDYCUIbglhCmDhoq98ARdE7L9qt+B1zDE+Qyoh1B7i03dy31nmotSN4fuvYzIozYF3b30HjAUMuajbGoTcb5yvqFU98074P2Mg8cVklVj3nTDIiZkN0LvU1CmnLch2IObUrVV9rPfh37HmpAvQafbU7o5aV5HhNccGk5RRslY7Ee4yCeHlBnxLMcL6B6q8t4c8TEXRvqEz1beRJDzYduoUs3dOqGwVyEkTshAIumN9cnPvnHBPCh0XAv3ikfrSwIWYIYKv2WedU8KTtkYdYAqOpx32FkI56leD38wkVRqp4Z6jBK5SnfCBX1NXpn2DorR09VhToKqOTu8Z92KJoVWezOTtz36OJ7QGQmHvOkFZ14S74IGbd8suAzqxTIIx+QlS15LpDOaSdCmLT2290BX2hXg0PiN+8uNdnIi+8uhoZRkv33LAWHdl6iUm1tEiupyt/BXvyTCEzxney+Vi56p8tGVh+GlcYMxbGlNLfALiOHJo6pwF3jVHV1nobjuyMqhORAMKWf/uqHfFqv1NJTs5Q/Gci9hIHptmSobJQzoQvWu2O4RxHXJG0k/x+fJrKEqz4IWbtL4qhKCaJCAuwHkctV5QDeO1hSaWQK75IaP9yqFk3Hegot7WS/F8erADQTyjUAjjYN8EbMDpPJc5TJTL02TqIEdoq77uglO1C78RvT9bwxUB87qZ0C3A71uZ+ka7basNgbXaHFB//mYLtTAWWq+BGE3vDUntm+F9oX7uJPZPVlT1oCmAFmAhol7TNPGWbN9M+RjMCXDNsIbuM5HBhLa6s+N8f6G0bu6CaNpHbycuZ2LzXdrgVfN06u6fMgm6poP8g4j2FNO3x+tVYgNtpPLht0q+7403HPSANiLdwune3aEEN9Upf1/kiI+/7jcAaxj3iwAp9v3GgUQas19dcE2wHd4UwnX2UJs5raSsl6CGMl0Wi3+SKk3uPKIx22wZ5tmbTWvMVRiGRmnUzaLkzDGHgbGATgvE62vHNCR4RyEvre2hqm/g80qIy/tigQefYnrxsG/4fW6/iyldJ7VvS+LUhk9nWwMZRj9QAx4LG6noR8XqzrBnG0y83qPjlqd9HP8hnq1scl1Tyim4g72QxUp2H/YC2X/W8aMDmbt1J15irw0+aZqcckYDf+QTGEl8WxS5u0vtNQmj2SC9E28rAxx21uonf+LLl7i5mOWYQ90oLc41d1XTvCsmVfmuvw7BkcLTil1KQeHhjBhQ4teHaGutXBMD6pJC410yYCa3mrK4W2rx+UofzTdeI9ZTZWAVmavYJWaIJbcZQZCThSIW7Di93miRsDZfs67EqoTpFlaQhyXUUAneP5LeBB5d4MpnlHPLUi7vDhu3x1LfTYsu2roDRwOrsrRyeFiulKP9rckORclvE8Vi7qrSAvGdDWz3HwyFsSTOEbLyy0v1LKHzzqbczMJ/frP4x4pEtfeoPzBzmLBg/6chw0p8omJG4EDXjgiOWSlEuMg80ipmIFDERMYxKdESpT3eT6OPjVFXVceSxZp4FQ0oiWjbRwV8Kv/SSOawxIZ/f4Xh3DBvT0G2fD6qnJq/HgtCrJjfwJ+XapYrUqwUYVFtY27itEk9jGAnomlpbdgZMQHO1GmZxzQT9JbXGotjGHbfq9XP/xFvETSSbvUYiRUOexRAjGfSfUdJz10cJoDDW5+4lzUwChnAEOCxYUqkbmkszusKK2MLTr7aIiyQteYnXiQCKsnISKbDlLJsHDLZBSbnIfU2AAtRV5BcZB8B5MKQtDxf5tsGSnTbhlyJMLZGZJ1L9eHEq+tBfM4vXGDpYKZCSS7xaw+ADZ/S1X1c8n26S2XTANGJjPgOY8KlW+1igouD+tkDtPz2+fFRNAgeJPJDbj6IHmPR1HHQXv9abgnUuNsXRA+zcgXAw1L5yao7Gsda2M35vIbYQpFJCwFpNxxSa5ZuvSsPq6x2xYYlHpjPGcglMy7QURy5gwB1nsPhlqwPemZ+PPsHADQLN/ZZNs7o60VwXD4JFFAfNO9x46wGVN+vujs6PY7pEt2InJ8JCtujZXuYcHtpT/Zz3XqHS5UVwebFg0RJ0mNplOZFpgSmS2y1bUIiSX7GPUXC87nxMlbL++ix51UVhJUwlDfjXC+ejNoHi0bB4A9kWW59AiSHlGUAnO0lKUwiYaYPmMnzs1BHkEyJXKIlfNBkFbTzxdhSy3owiRaGWUk2XD9R9h/+s/OjYEnpEAC6iXKycx68TSJelEtWdiUvYGQ6fjrNLpsgzwqGE7UhpB6EYH2Xebi7MXiHITNKB43PwBZ9OiuYLb7O77ifNIMQXX0i1t9FnqRzIChLxv3F8KgpXLQBEx5WMkeyhlSwLI+gWkVFQMyVIoV6E4S+9l2MOox21sxnOhIriIhbcAv2C77Zo9T4lEXGw8C9b0afBuvWeaNPt/CD9wUJzP4fGqZwojGmPXi/vXoDYEOaJaMyVJCEGwJMJ68oCgcSxGFpBNSlIJb9Qg/bH2lOLxvQpu/UJEiKYxyhwWYCNDprZVmVr0oRgN4SiBlaOwGuE9EuSlP8nzRYjGl6AOk62BxTqtCixihCpg9pZCg/WtV1iiMr2uC1jW29shzsXJzfMR36dhhOmVe3ShpEtz8jgblfXJVA62U/HnKL/oShnnp22nOMNc9z5NBHb6CkmHv4mbwUrD+MM5iVSa4pMUc10vx+NoOasWMBXCrhq8GxXu1sSWo07MsGmCRbRmWNAFH6l8nKIFy3vsnDkh/VyABQC+lrtHZj15VgMO1VLGKSBEuSQdUiNU+JZlyLOv89ooHAQwC034e5U7mLrFJtblFf+C8DzqZkkHTtyTWoFuawB/Zlxq5BbdNKa1Fz6FKN4WyobgyvJMI5VFx5jyEaj0+xj4TPzzW1CET/8qxmyJa6c/5wBX6B+tKoKtmErKT/xJbRd55c9gex/lWk1tHny5//SLNN7F+iKBPm1D+RNw0K1F5H6ZFHxo3Z1fcPI3Xt72s3/yezhyyTVmIGvEYQUU7LlO/6+i97SRdlPdu0gYIPDo/9IU+FFbTILrgTbK6G0wgLjOjZj+/32mLZtzkk/9SEnifZBwwfJ/szuNmyroIlveNxrC7qNUQ6hHVLyZVxOTYOmRcU3ifrvxfVvOB6R3JdiMiXBdf7YgayfpId5jjS9vsycuMzFa6J6KDkcH+qbLVf1nu2+2Hqxma5x2xLyT3chNjwE2qTjtw2vnmt2QqAeA+EBp+U/xjsTabKNIspAltoVCqlLNot4ZGPR4qjjxK/wWTmXDmNcxNe2aerGotr3/dv5I39BAt0uAR3w66P7kbkUZjHARY7eOxMo1nlvJB4XK0W7lEXi63riSaWCADBPl0pWqfy8FbxH4gBSPCViTYhLzgBsXm+evzm3I9lBz9d4DpMx3FWbQmSoc45p45dGiK6yElFhvcSCCMjvz8bd2h1RIM7DrXS9+jRMwSAowq2T6DtOYjBL5WTsGzjse72KlL/9/ENcRDVpn4FIV2+iu8G9TH5DArWOYVRVkllUE5yImVgpxRLXNugHI5rUDTZsfp03hwisrisj5JoRQ/1+N6EBjqR7vECy3dZbVHlGSLJaGqNDl7zUDJX3PSqcKGM9QH3HSnWoxJnQQaJLwNqwqmnNZFj4wxx1rfSCW1kx8GZ1poViyXEOsPio1zTQJyKIz1RCyk5DgF+xcGV1uXHm/fQEX+0qPibNIh31cI9qrUrbEw6OU5IhMBx4hp/NsjxLJ2zzYIziwm1LX3SfzME9ruyrorsym51ae/szGd2NhZCJniJxa1+Q8sK4xUDIYHIZ/mDaYi/atOhqwwENOi1Ra3oLCGocaJyZpFdRScgtaDV5Wx+SwvaRN/y107STOnplQxp4sewZFfkvFaBbwJKqIL7MLcbF9HoDjEpzVS1MwTRWw0CuHMkivH0//G5Nss5icr8WKG8V80/48oEzxJRVJy8Kq/B7uBMhKfvhLwFr+zul6mYDW3s0hGaOWWrjl7gIMbs7Rw2zjsh1iOPkmhf1fafZz/5Re4YvuUec1RUQb92CU06BNpl05HkCvXqXa3/ROUKD+p08eXY5wI8Bj+7/rx7G8SWSdlbW7sFXHk9D9G8yKFvfK6Jj2Vs8gmk2cmezVsqRtMp7227F2yxdJ0zdV3DoJqDgW5QQ2FC1hAEp0PKD4SSM1ZXCHwSg1pxTsaRr83WupOp2h2QwnfRWJixXQPYejBHLxnOi2AZ1lhsPd++RbdOCRScrbD6GHdyQ3NXbeIQGn4MGDDlB31y17aXcUhm+r6w9m9GhRn6AtMo+GCpJKzJKSOnEhix8RAx7o9O9mdBovWIzeOtjklucEOrtrhgVIzqSDWHfbwVoxHfXOwsOxUszdf+9yHVV/+NHw1s0ZOencY+C+Zian9xzexdWQYPpIihmHrGkOYqasXjhavBzGzM1wX+JKwsPhbcy2mJXrolqbpFa++D4/Oj6+AQf8M6puhjXT97hgJ5/Q2+mFMTDm+6pJVOYW5W85ibKP0QRbLfa6jtmktcD2+zwh9nu/cpK27h2LQh66yTKpu3eIFMbmTKfUhP3tkIsSY4t7VQ2uPL0F+aeEHlkh2+oWqebW0Lxl7GRduQJiLzoExW/cXw2Fps8sYE4MChNXYMoeB3AhtuiSXJ4VWOuEfZcrLOqLIgin4WoNYlNaqUO+0BXF051So0hcYsm4QrgOfogs4NzIqrt1lByzPb7Y+270LEwMXe2MY4DRSyOUoHiJK5WWFwbaxwgICcB136A83S+gWCwle0zLTUrkRzCbW2vETqah3frQWX33PJUm46yOLEjgo/clJJQ8KKc1BtWhf6XgraetXIjoLIju35q6OZZ7v0Owv7qoosO4jX3XINUQg9hmHXGen7q5xJib7fRZtrbwq7Yf+Vp2Obpn3vRwDrEZyte0QItJ24ghMbkFsrHOExCoAFY/uwjZ54Ae1/ECuNi1jPaahOgZVtDmGVD2ldl7bPeIF/tUxndVptxBGg/zld+eByc4YATYH6IpxEKej8uyIA/7ZMNzczYdLgJNtx6fq8hYx0Gc6gkmrI0emZtiMTVqwlbCVb5IxkfzfXaqJmIyRhaCZJhJzFpxWroHvXXLleXnCV1wDkDadZUcWEwLxSvF0UvmXY0FbsIYNkZr4VcHcIErfls1IUHtEFfNgBIwqF7oxaFIJknbFVBIjjl1he/Hq4uMhgAAwX3tS+PhLGHD/Ftu3fRW7jHPrGrzP5/OXse+LW4wgAX+QqcljUlbFlMG6X9ZOlDcXBEqsYlPmFdAFVCEzwomxO003jk55hfNFqe4oJp4FbSSTLSdSmCxeA20IstokTLLroTJJojeu3qdDoQHqFtJSoVVBYr9wI6I4lbPq6BrvvwOA8sCSIlXTPP1Wms40Doe7eMAChQdDXYC1gmhF4wc9GeGiJx51RJx2h3U2M6tViTbrhV5NCL88Jb47NVKzQTa6emrCBQJnO6Yi2a6hXZrT7rXDQ6dAbH5Swh1VbtbwEo7QUXYIxPwHKJAAgsnkJJn4ioB+So08ODXfkifZxdTe8ahHVk2KpJWCHgBJT3FXJQPU3+Yyq1pClhyJe2BdlSLbcl7oMoLYWwWkT/sE0ICnd6D4ria94+ZVUiHiBUS3aYiJLrARwBUrORVD7CxRYP0ApozcviUItTbi7rjQcGqRZUg6znUfbHfvyVPBYKW4e+WmMlSY3LieNDKEUOp2PuRrbL/1Rtuxzn3blINJXKU1nAu6/BHJ502DL8fdLAh+R+2Y8zpiuMQUjvGTdnb0MrKNYA0N+tBLl/oZYPwFytLgxbAMI9WNh2xT3673yCrs3bt+33jN93WK9pLMJiGymM4mxE9s1y+p0hEjMxEsvH63sWGhOjYGcfAJIG7qT9R0juvihbocIbbHcWbYHLe2RPC4nGLRqjhZgp31aINf2RfJ6QqLkufmh+G5pTc67l2yFCHMG8z10RhJEKgjFLQaivL7LRif49MYsGk5rkqemuzFzp6p10sE1aIflDgQqZ0eR5RcnCqtst/9eStBpbdELPim4s7UaiUyNNMOwhexpVsqgTIfsg3Bat++xcEJWltRGaDS55JtQMIHdQrr0NgiFBkAMRMO0EzDMgppy99sBA/7HJgm+9KN4NXtefxzcqXpjWJh67KSoiB4qo4zw2uaFQqXa681bj2AdoNbIMnoz7w+MQGJf8fyVNO5Wfg/inlcgqOL4c2v7z3VGRWdwf1I4YTJAeYdeZVr2GwO00wKWqR7G139UB3mOWPapkIn6tzXvE5UIm/LO9uX4WvTGeUuYPp/jh9UWYZf94hVFWgVUHDg9CF713YrRBYrFzlKhJ0jpGa7sZKi77rdw9OeZ7CUWjOXQ9hgimwmQ+Ndfe+y9b5qm+9VICr3IR3S552gxDqFc+MlfjrOzm3DuhIIEwWuL6NFzsWEGe4CNeD4sp+qFNmt/fpXKwc0KMkUSmFwEVMuFEXVLBZhMnQMiU7dj5HYbO8Xr+lnlTHWaIB6BaEEnkkTNdFwJxlFLLPfJ7nU7QCO5pAyeXKX3r2+Hlt0w1zXcExr0DADbMrnAPqaX8XE39fkrIC0ygGQKIx6vSMjh1ABSExxLwTD2SqI68cwQaZcmszMMYUJa2jkNyZlLGzAWgODc25nJX8PjUHdQRdX83g+S9HM3Ugb4bcn7rwbV/S4QBj07sU1+nM7EwaM2TQpjGM61EFcCixA11zdCqnBmDl2aURkGc4ucsVstY978HNe1baHXjZrCkr3BJSMq8+jmNsQ56aA0PYecJichWaM+00vJ2dPiAI2I1qb9n8xT0IWlDt74gfvYHs7lPjIMjnSijwe+l1yAE88658mfoV5ccRXZdHL6IYKX/CRcr2gulLyXbkl132zSgL7dqqL+iPjbf4xnNHky8cE8GtwwMWS8f+RNv+OqHB1TkndEzqz+q6WSD9cUK9okokb2dtSlKrPHkAVOBCD+eLqml4JcNLGcu56H2OnEhrdHyWVHqxp1+KkHb0OVpkhx36gJEpXwLM+bYJPk0bwCCwRfL9FYDKxUruikbD5yWrlM/RhujXtt5pU8vbgnXzK+xQzB+fGxy5k339rGHruEZ37BJ1Xxgj/zau3plkA2FBzkksWEyTM7Xnh0P8RczxGaRHoxAZ0GifxTZunzZ9TdKCYs4S1gnYSzhQvBW9eixiJH1WVGOuWWnyE0U+NRZYJRMhbCgPOGdcDF6Lu2sq7hl957bohAny6pFJi6/YCMPGVJ9Zkf3r7+CIrQBrCMvyaioeZSUcpHDc73Xt82GK5CvEiF0R94kMVpGXr6AFZ0Hkf80bElkVzqjVJqGHF+U6Rci+xj7dv8uREOgLw93fX/So2ubkHX4fbdJ/UsCf5ilArDOCMtJLu6g2GgKxCHPAE4uH6AQrPcdAU7SYD5Lk2M6kFlsFluHEqSiD8hmAVPmc9BA9pFjuNrlPR5sQGoXfF1xW6wjUmS9EAphzzywYU+h39Qakhi8nQMnQ9J6LPpljq5Uz7fRVgNMNr+ncFlI06KlH4/rrsjsnWjK1diLNr7Y4+pTJmr5zbKXUPzakpYybNNEb+oo9iO4d4HAqRbkgzmgf/Z4D4INFncysgx4taCar4PIje67ggXQf5eev1rIFyD2noyYGHATJQtwFKU8syhSlZnHs2oYHBIVD1G9C1EBLNlTmhWyrUuUnZuGHw9l0GgZ7ddP3J/HIlQ5i0PjmBWPeB1dXhIdhkyQ4YoUpXVtLtNN5KwP/0mabQY4BLgTTLM/+LeRlmSTjdiCY3y5Qqg59ceKZ3tAC7140sVgYvByC0lTZsEe8M4M8XytMDYHyTlqf4vQ7cZsk4lhIaU4j9hpYoZp9lwH6/lAmjNybFKvhh3G9oG/LhZe+6gDsbehoLDViRReQkgJuyL/wnPrNk6088z8PG2kJjGXgzVsdgLAAev76o7mcIxARgsEwdYe/18Dk3vc/gmhv1r+lK1Z8eevmIqjtvIIqUC6AgUjcmVaaDcKcD2/vSc43NUu9QBwPybuH+98u6R0RRt7l2k4Ze3uIKtjGCkwKaiI5V5rkz7aLD/g8uGoxeyu8qFCtrnHMJh+ybeiGusy0UmRO6u1Ag2GUN99Dm/2sqYw60lnwMUOAdBG7j1LqLj+npIrm18VM91Qkudp+jyn4+9N5fyRA5cZSxS1za+VI1zbAYdHp0FMgjtro4a0iOHLaySefoioNSJFYnrI55alJ9b1hPiB6zDMH9BZMFOzuLbb2q+PYMVnFF8HeAU5dd7sOUTM9iT89x17tP4GMgAjJR939xeGme7TyCnn1G1QiT8aeeBgyhG6b2Hj92sVMBvcL+453x0QBbc2M2TpBADFhnTB4r2qDXThx7pk9/2RQ5JwVDkigVbPOo8hMamV9MimC6XnglwEigChJCXC9qnDuVJJio/tnqO3qNQnphrbLLO16hup5V/cynhGkd3jxywn5tqBcL4mIZ+h9FBqlLeMR5D3vcLq7498OzgNyFjQJ6fLW39UdXDuURwsyvXXP51XXOkpFmO+NHTNUMDPMKqQe/HvGYas8I4DrbSE5qisnaJ6ZTAoq1i/f74/0g+JKwLbtI1NmpqxF90vLCtEYFrEnCpqjUF79xs+9clAdY0DOKgm5P4UjgKPxJz7R+Oj3KIS6p6YV2LIoElnbPSZUBME85JfYv1+h5bi5JibubinFbYPrCKJhDQruc2yd3gokIoqfWJnaAgRLoZKr6yVvAmOjuFDwjDHNZhSJCQAeOwidca9t1kETrpxcLCwl1kWxB0DG+lUcM4w+yj6XpjbAlBnWjLTfHx2qbOMIEHd1kpZW9xdVpM6Pdqfb9mg0I5wmVAgiY1LydB1IyPMWt9Umb46SbLoPGrcyCTdPZQipMNobL3OZK5STbu3SL7MmymQjXdPhv7kX6GoHe0ObK8HHLLSS1qKxi364D85ve86Da84V/SaWQxtVIvfWej0vdWdjjwy88v9vK72dEebKt9aNZPJVtPFEjtJvwmDVYlsdwVMHrx82Bgl7b7Y8vAxkEuNXWg688pCUpcgUQBV5pZ6p6lkHStk8fjPXqW1zCNFC9K/IWfsKh8A2jQHKfReuKwJFeRhBP558E8XBicv1eRxR7KH9XgIz4fvPcUxXqA0xSWpugI6H54l1E/z0Ph6FqtT3iKxq38ZG7Q0O35xv9JX+Y9+t7k0IrJyQzIzpGAW7I5/CM5mZybHu1sQ0UAoTrOCZ8bD/xexvXVhNLA32+336jPQFQACvXMvF2W+LqT5h1Pf0vS17VBvxjRvAe2oB3mZMxQcZ4UEG3voO9tA1ltsPbdQreT9nnkW3Zu6GBYp4yoF1J7ujs8UgLHf5W9zaVgAxWjC+lHKWlSp2Cb92KZ7eqGU/3NtvLHWhgm8iaTQ8jZIyJO+PYBXJf0tYzCoW7E7AaaayWGAOlCFQwV6PRN8fsICujOYzZBtc6aWDZ3+hDP06FzZWbe3ZKt/f0H9Su8YHiGlMuFoQpnnGmmVRQjm0LyXSeqM9EhZDzHP78IL8FqPh4FpUjp+YIZyTeJnLg3xUXkkFVNnvKQlhsvEtykvdJyQox131t7VCujAa1Yob3GhZ3b4YN8W3Y6JkBw1IpGp7IfxBd/AGi6Hb7gH9pF7TjgG3XKIUW4i1lYb5MxZbNQYxQhUCNLN7TOsAyRuONamwQcdWCsSLHCFm29ujDgpwQFixY44i2WRN0dqx1pQW9EHpxzZ+7B6idBCBCIXy0OHzAsVa1a2/ILXq4ysF/IhFtsTHS4TVeUXIWHTTb98I/bj8ydwEtbsiurPWFYFBuk7QZvggWluonY94WuqyPk3aaLqL/vi/W7XouP7wdJGVSQUhH50dPspF0GphalChitzWCfczW/WpdiIU8UKq/3+vh50mdQWFpJxcbdedCVoqF5U4DkWIr3PZKwMQg/bT6WyDmJ1pRdrYl1ASFl1OkHJHV6W5t1e302CXpWzY9cWglmWdfrUvMEWkMVQHN0Ootk1sz4iT8+/o7xP/MNDaL8d6yFdlRj3FaWDoshCfG9v7MrkR90ZWsvwdbSDPzD4EDFMpj6UhIHlHwGXAJPjx0vsT0baFrP6X8cLyYoiRX3Aoc9u2mb+88IZxM3jAa9D0oNXN7NWB4+zg2IYk8AEHAeGudiUv0Jj+Z329H1MaN88DQxfjFugwsrcLnQBUXig+ukcrEmOopERRlY+CKbUGEp4tF+/vXIanC+tG0p6c2fgcmyxs+xArvhvFrXrxB6TVslSu8Z/JuvVBzYX0L6/378NSBszpLYvgegnRhOYNPZTmdibBSauKwOq+yf4sdsIP+FRIVI/Gd9j4rVzZ0UDDqKRN2v/Mi8VVM/teojT1jVj0IMKa7zWk6zss0hEPyaMmeelWyhmVrUNTkI3oN870P4kX6xduYWp6v6KOx8JRYXFC7LH8mU9SUmmUqmYkj0z3vCKP94ykQL6aIpyNXfwW67JRkgEB+2nENw57hBY+VXEnOfr4yDs8DOjUPDeIp0CRr3l/KSdWQZmtCvSuCFgLmeWOxkAJcn/qzG6op7zHmnVz54QkTkBYoj+yCgxtdszly+6z2CkkKXHoxqRf/Sk0T5oogJlvanJCccR4B4ubfMtuMEFld7jLx6wp5vEleMsvKTiTEUUbSx0gSv9+9eQwR46+Vi1oEzDE7/uOz40+F64s5k1Lnl5uPeuIW1o6lkQfv/fw2uSBuJMO2ShujI/SeM2c2dU27wwDpGzasEhPV0bX/LDMeOyU0rrGaHIyVgsTIf8Sf4rb/M9isNybQylRj9+iSI+GvTLYWE6s+Ad9tImyA+37HwKMEVis9Z/mT6vKQOUYgBtk0oOIjPNBupdlv0lc/MfTeMUMDdfhuZe4eJCcg5h6OiUc6lQWjshhtLCFYufWI3IZyhnIG0aXIv+wzme+vDEowPGmBxb3wQA+PSTzm3ppKHUIFwwvsMr3zRBXVCZa8wzkD2ZbuFqQQSNZm1Rci0CJRCvX8vGCdAU56hAP4cS0jRPuPuYSHDjSwRZE27vY5a+q/7NwQ8tBsHOqixPP40zH6rNE+K3VsljybIEnnnhv1DWElGtcjEKkQWgdVNZ0thGYTkQZAQsIRNHWE4Usprdy47ri1LeE+23hc712Tbw24L+ojsDJBI0iupS4xppFuf1ykrKAGfYnCxQdNCaTl88gkL9UrfLLp5im8soI7LQM5A1p7KoJqXBS6YW8q/AgtsXYJpNK5zszfA6prMq93fWMXAlCpTErQq8X8uI1pAJiZ8DAjh51Y3YECwQXDuvD4iJzladQjKc3fio0h/oERHm/NJklNzTI2Qf/nu4E+tKrtWqfDEAlEmj1e3PQuKnI6/iQpt7uSuUOCICUWaFuPzsMwEVAnIbdCnMTJ2KDS3QcBktleCMTBy4vGxAothbdmKUDJNrxC7krMGqKPYHjdnKWZakcZdz+QArkM1pM02F/6FkksKAdBJUJidGeZ2fUFm5z7MaDk3DManBjxgIPyH9VtPcDc/9G20joGQVNcHmX+zHtJ8N+vvNUjtcge5iAnu15T/LYGnmOIp5qO2/csvEMKoqXJjjYp24eHXjALDoSY+R21lNvtk9+Gxpk/HC6bmWjMQhGGFvSIvCd41Qk3rAeFKCS5xr6VKL97neTNPx2TAoNO0HtiID9VWX1EmiY0ELO7dFTRMyIbYlcmonPOblXefnBuqXmqFAWN1p+YJ5CNWEyFha0hFdnQGQ1jteFDP6GqH9rmrtnUfqB/SmhWfbibhtTXm6gpINCZNTKXiucwyiZfEFRhOMH2oLsep2JUjSsnMkM6ew3qb+oJ0bJC8t0H/85DVQukLSQCPDGI/68f5SzZlI9Ly4sKv4jXXy5i2wLxfdue9ZDMipSgGF+hV3f2wC4vVg3/Cdi1DvfSmKyCt1irgc4iYDjLLL76T0fKgii6Arq5VYPIYxPzwwDIvfZUkrRGd9VNhnWfs6+glNKgKT6JfGRiqjXe28uqpx8OkY3cVodK8M1PUctOhRa93V5mtvkcjUSBdouG4/X5Ll4watU+dEovHxN1TuYcIMEzozBX1qSLbpoJg5wKQD5qKuRcrn/k6ickaPyFBNf9/cK71/6nSL1UyihbvUp9V9RswNmZqqNgU4q6gIMCJEtGmqyzBkwjPZv/0R7+wWaRAwYRnJ9blC6xJJa4hMpsy8NrP3Z/fVEnFYAr3GpMA1DhDayz78cOnP1PYb06yYoEQTs3JuxJXoxXKs9UNgGJ6YmOz88aA1BQBS3Mfgns5vujUTD2H8AAmvm4/SxViewKtGHZdw1c+HjPqhMJ2r13gaLnqS77gAi4zlf/qbYqPkZ0H6HDOPdo3ONWdx16kjVBJfsIMcvcGVxgTJvuEAm1FKpRkEiol3OFFmPt9dM3AR1J8XtAdl8Uyeq4SCWg1Ln89Q8taCL6kmNpifREfH23C+OqP7dPvtcFnkxp7czZ/r8oyLo13PYjnMVidG/FJDcbSduoC9RpWKswKHgQjx2Lt2hjK5L6WR822VO3X8vTXJp6jR1uNiwhqutLGTFPw1ongX21KXSeHe1F6HBcoIeRNmKLiGK5IKnQwH1SoK8acxocJycDN515rrjyXgk9Cu+fbdck6vyz8X5QEwjiffa7EdiKO6/Sg6+/++d+3CKOsPhYS4T+pUP+yJWJO7JjFQGU95fVubfVG1lT1Ii/rhOcxuhxtNj6HO1T8S5LDzDCTPjS/VIqfxWPnDqF87eaH8NXfiy/W1YKGGvGAUNvEP0Ev3HLzEUYMB4Jt4eK6bKg0ORLmDZhu8sL7lNxR+AZGZwQs0SoAIVsSjmQHZw1qy3OuINhmY018zkfDFjPIFKYduZDOijB+HP/DL2G+aVLqOn0LwU24uOs45ijupG4OboWMKlUby5UIJF2fyDZ9WLdbtkg6SAYsQAxvLFEQBl7e6zKfgUGpUWvi01stDhydlMOxeNaoVtWxRrjvepIPuxHa81zT190cgsAnkETCX/UHJgGVTi4FtCt4tIjQMZOuojfdnhDkCSeU0JyseM2oXi66fGoVTNt5emMs5AtIVr0Uk34EWdfEdGMeoLMXf58a/Em759AxgrU+FVBGHhtSpH+WZTEKBBpfbBDGvdqD8PfiM2GFcFiu3d09EbJY6dnOOWW9/SyIiB4VwNkEMMBLd9iOoCwcrQjFntGy7fYdgCtF69M3qDi6j8yMAUx+TGPKhbcu7X4fijShv8LTEe9wvDOEYo9eC8OsQn2knJdjhr2knPSMm7exbuStdX8C/kcZnWwdXL0qlMLYlXITrrZdJbLZH3cPG4Nt3vMg1RUNJQb4R+55fwYpoxYaYWzKBuzgUJK8DPFlQjBlLAbsPAtvRy6geqOUwwp6fkILR0AERCdKtwLHvlyRK5/Ujy8NX6WgNf8E0/4fcMbhvg81DGUOYwJDpe2uZka8DUk5/idjcn3N4Ax++29w+DsFbsQcRp8U/N1ngH+KzOhB4eXOPZpbu+SasbyASEwmFcziEXBfAvG1WSms7wy+ZAP3tnt5kyOuH3/gi6f2neNhHkT9r7nv0zB4We1qtQAuHSyu27noCWWO5JNmukgNs1RmcJpNE1TCPjQYpyrts4bq8hRm7OYolDnrvb4UTY8BkI3gnKvQoUpPFa850eOis2vdIBcN8QaoGlasoYd+qbssgR7JfgYwBUOhPk8a6JxqxzH6NtlsYQKsD+dUzB6A6JR5WiTxe/12NF8gHymxiV+FwRYf7ZP9oaNdGhcaBpb6xy5UjkCDDZbdlFBvLM4/wHTZy/ZnJ+9GYiff6AL8Z+bNpCHNFKjNCbYG9COfxA01ZKft+tIXjOMlVDvOLQ0zdPEL+Umh2stmUqiXSqCS101j26TR/Bxn8Km1EBZCX5aBFeIg8xUEgJYasxTzsWn1IJPTQoQEP86QkFqinqbIxpBhE5aD5RLQlrxKuXgE0Wh1u18s+8wzg7G/N9oi4SaX+fQx7SAreleVWPzzxwOsF0F4sQFf18k3PGUmCy+ZeU7q6iC+0FFjMrTjfEqwcb8lKWnCqvC3q8RRt51ja5Ju9C6/YvjGu2w9202hbTiH0JcjS75IUlspo+66wxioUY1G1OT9FiYc68oAFcRasZggwUaV6scQN0ukjJgBVy6MNU5Wi+cJZo6sgHZHg0vEjJMQjnqidCIVgetPNOuw5kl8oO4U2xSIQv7A74M2251+WZH5b4BbgCrpEP/Cns7Cgni65BsAc12znyRgJZRBCPuNSu8HBCeIgKAfad3ty64pOa1MnMKH4QYS1SIzl3uEbGheh9ra3NUmYYdQNKzBtXm9itTNI3NRpm4UNPi2NWS+qLMCfGEwFRzluUmls91uyA7JxBZyI3G0EfHuGvkNymWvhaVIJXAroGl2qYyKPgvWiLNfj8QEy/lCrmO1JABTa8uIFtkI7tSt86pL0uXhO1/WTNVajjqe8OGLvD2mx9fG7bWt97vsIt71B2yuIJ4/who9n8578UPspAVNoZrAWHlAkJQkn9DuX+tv9QCqYge4uQMw/OoY6ILBE9ktHRS83WB55VUq6VROhoVW7LII2DS2RTYb4gwk1SaDGpKosHa9c9hN4YDvCgogMZCKBNRhIlJYKPXasj/bckyYKYFLuFxxGUJoU/jz1Pgcd0OcF4xtQrIcgBGIXQXEq11okyuD1UrcDdPtlawYRoyCjPVghQkkUBIriMmbz9LOr6etxZwXU2uxqKHGBmOdzcQOXCT43Gb87bryFFb9BLdxOR52VjNcve3vbF4aPnai10uKWP457holxAXLo5kT5Yk5RkfmnZq84v3XEhOC2PvjT87wiPNqBecn4NBO5DW23mz+qFkccMP9A/wJQo/CNICibvD0UqLmr/PmHGCuIsfaypQHEbFekPRN13oLkH/LqE0q44KxUWQucGXwWAy3q6HWiSSqy29YCybvF/PbDcvuMSVVZRrOPRBimTExddCSmjWKsZ1hnN77xAbm583BjoXtdZOa6AbpA8z1fbagD0idIK5Plm1if4sQ1TRqAYnmCeqe7e9DwElivVz3d4OfTKqhi76Bbnt3jzVANHLfeUOgDESgRX7GsVtf7JydtzgkCyEWji6P+S+LY7juRAYeDT1t5RT4oJLjXkOoubjjcXcn0eJSkAaCiyG0MK/2qoCy32FfFbBGVBPAZtEmh7its8AvRwCIbq+MPPBMeA94V/sZSUJvdxrCg65K1+Br9zAZr4XB6oIZFv/f75VldvnrdihWHjtCKXr/CmTp1gdRk3XNyvrhAq8RdCxlo9CrSswPUkVLoQ2lIzWL23TmaSCeHnLKT+CgUOEm/ua/AMDGFIGvx27Oi4crM97nRl+twNllzuTjiekP1cYRb8ylsZUQR6kh2glzxL6VhCQW10QnGTbIBPahJA3AxFqKbaybMUqeF24o9dps8/1T1wEAElQx/Wb1ZweklvmgMSB2YlKeUSPM6Kg/hFRJbcYu5b0mhTy8KLOx1SrOz6sl03IbJWAuZWsQNh7MrUgatQiN+P3nL1N+wmKcZRfdyMFm6Td0uRRe15LchFXfYkSk0KoQPJFenp8i13NImylBq2j5PeyYKpgnAlkFW5DYiI7CPxm+vcJACAKuwLDlRwyW0J79aza6bmLm5dqyQnUEHw0XxQxkCjzwdidoihqHYUoBRwGOUiD+cNXLSmOb3lqtyB0c7muM/da67OPrSKY2wzcRgunHqfepxwRtZtzN3NO3x2gbLDFQi+/PzPWWj2TbW+Tfo0JNdivsi4XUlYM+2Ir215n5kCfbD3c/yNZb0J7J+xXJiGhSdQRV3UL12g6YTVVF2dB5fbC9P92i0hKBYXUzNamPG3Kt/201BZHOz8G2KCG0iqn6GDLUNQUjPfNlhEmF/C8GAXPiXHin5yPEunc9dj+g5YrmU7cS8LQPf9/lsNuYHdQoxkx5f5qPfMWyTjuTGPZ3giP4wLvUc0UQpL1zOcIOnIMAJP0Jn7B7pYixDNeo0yRqCWuDrvE5xhkjElKWos6VAX2X/s9Sh9L+WOgNMFylbfUbe3DvPfU6koap7J4Lyr/G9bKSYuNMt6WHgD96mykndSzYphqweZAIjAoqQf4E9MwHtwRvsIZHkMorySRiDw6CsQaFo48vlLJNTTQ9puVcKY9jKRFFiiA8ToELXiqIOafRadvmP/+ROIE+Slati+BHLt/fi7Ew48K04oRipsutcE+TbrbdfYR7AccEFAJ6iJPmvu7ASrnvw7x+/VBQoNeR7zX7bWxmni7M6at3dBuH/dpaNnideHDEblt8d12e6tVYToA7Uz3MI/6lwDQfOnO7TObLrR6RXFQYX9wPjY4QkE/TgaMXL8oRQYdPcXFgFO4Nna9F+faeMOO15S4Sh3a6azbv0zgTmMHimRVI9jYWkcCtN1fvVmd97gmiM6XUtsHWSrFB7GtgokWATKydHcwn1j9QtDEf3gsbQ5tgZHitqVCJlOup8TPfsX3l2dntHF8aY2xsC3TQ8tt8JeCWZLHpF+AX2KEzSzfsSWFeUBDsErJBcUdsW2m/y53ZwDNq+ZIRyYbm2W8/xzgKW7W0AhwmXvbrOLAtchyHF2aJf5H7I+BKl1C3mCA3IDGxv9rPJGyjPCDtXgN9NpAgZqrwXeMig/7CTIP2BIY2PnxkYzs0NkxirxLKL5nP65hQYXvc1IkEjPYwP5BXX1Gi8fsrNEVE1NPuyYcBFS3cX3zM+Ftmu3q1pKmK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xRdLyPBQmwFteRcmjXfmIxmj6W6h0580lnAyID772Th03vSezAVOo7je+bJJjztATizRjo8KBDXlSV9t2vpyu8WGATv3MwhYS4b36zMQIr8dyJsYtOORRohGdqwsCWoNcuqn9yVsXkNZfNdbyta+0tFuGBITSCRhBaEdjQwkQLs+R1EiMxhcN16kWLRhx02R/bfTJ89Yy5bW6E1tXwU4FGfFIDkhQRK7pI+87dwbvI2sftAVCUSRIC4S6KZfc5nvhUdeoHfiYQV3tmpC29jrs3Wf7ddO8U4L2/SQzEma0GFoZ/c9Ex46LN7VNPwmd2jeoOd8et5N6r/8K8hEpdFE8ZQbIbWmqUZ0AteAImc3RpegaADhJBkUU38x0nYjnyYYw2ii2yTyk9eUh3b97EgHe1JTX/3UiyhGbqJ37lIPRBTUBNl373bFiZFxR3tCwGhzTvnHGUEa+LOon+xPkkhgpAXtMrqt350WkL0pyo9jOb0N9r3UyBWHGbSNgucXWY0fkVoSUb/94154gDA/eVRpl7SmytMQPqe4v5sPbmRu+Lusi9czGqdf8l2rraJSa83UJ51MgOiLVRXOjFWxjcnYagtjQ6mZkBDINkDFmZu4Q5xyJ50xwmb2DiSHeifsNbg77qZcNsL325GnYlrCf9ZGlna4An81Wb5DEGOtK4SCcM0xaG/OHtIkb4N4z1K/hRfQj+jnIhsvZoDQD4wOwtx363U0gaqDkGszQYr1jKVgBcK30u5nBTH5DLKs21ms+daNG/CnM1ToMWoO4fyh3f9VtGlhC2MmyuMj0KQ9JXiQTQzpcQEpw4KwmfXvoffsFqhgVAkKKvU+nz+cueR6xkxh6dNVI+bJX0O4zi3otwkVWes+mkRr8Tye3FN+yNcta/0Drz69F5tD1sHbLJbtCXQUOk+yn/O1oh7EziLFuTKQj68vLopXWbCrDD3McbQLrQ1P1EdbCMZJPIkAt3VYMOwOKTP9hyw7IGEJ1O9qA5bQB+H1z/Xswz4A2kq6QBziHJ7s17fod6ETHIGPGrSdg9fdKt4y54cOS7LTW268BgH23gflIzPfssvLf8XOuARcxlVobd+wvojzlwRn7+uWvM1GGpZuWqtEEFgHwthe41x1Vmo2RHfjVWJoyCINVSFxY5aK7N2EmqmRiDU60/ri9BZq9zf8/Ipj3oqkd341auExuOKmzGchBAjCahXbkVgyGkFIFnafThHA7hXftb7OicFsJ568pShUz98zMcso+KPrB5SMGp6L2FdVdMbfmDcDCH/9oCICETbmnTRQoqdJ3W/8Qr6rA0YTCuVd2QSYIyccpXdEuI1glexnzNeC/30f1L1F8JGcp3LDAdCjKzyq55SgwQQnjdOMt/Lh6GC0tnrImyx6EG3HjBjuUe5B9ml7FiR8ybR/qf/Fa1hdAmt/XKTSOg6I5LFggjSvLLJJMB2FKOVYFMTt8rZ7QK/ZAn2pBUyLGzWApD61oY2zB2L2MCHJjzpmt/73Jai9XBINTdb1MVfE1ANFaUjGJ6+F0G8QRoS+AaO2fInKQP8t2g16Iv1SSgrSXv1ieEPtGg3DBuXOZ1wuVYX/Azd/mqIbjntcifWrDTTpgKImjIruW5w0jXxC1BmWGSShLyFxcQeZY3iFMIi+KNYtILSD/A2ySEMl9BxHtI38Q8qGJ8hJVvfS/XrCI53JRdpPUQUOAilusohj+IPHlpfdIc0GQaGccf8R0DAbtuviy3evlyR+x/nbwe8WgTe/2ydF/rXOm3Q6k0nnwDh4cAbd26Re7kMzHCICF5Vr2D4hUQT2clBLgK+RUwv+7p1Uk7LKlL8foFp5nHQXY4+qvtd8rVv9gsljfpCQMY1GgzZt7PmklJnqgRLInvYwZnoqUSjmnnZSAdzgWNcnw47w1D5Bt/aggRPvON7o1YclfSMZwD06Eg3PRvWemqrUdQLQNl/IzQoU+4JACcP5gsnk5Y5VOqm7/DCp9sKuKAXvYDhLhIX3RCzi0cdM4mK/rnZnZ88fhwKs/Q2PrrxGvrmKKZhuXISrGRCvHH3yVz6DS2Cu5JvTbJKfrgLZg4KX0EpFqAmX6Kub0QLT2+RWoVbkgbFNe9OgwEn1saSsT+AxRo39Ke18uHmvujTLDptyxVOCZvK9doaGKDzgYvmwUDSXirxWvOtEaflXJ+SeHBY6id41vA43sYdHwWV1TTJCJVCPT1I8P+CgKViWLNEtlWowmQvR15WVKal0gd0DtUfXT7YdY3uwjZjgpiJV1ZgfrkOJ9IqKmd6Z8U9pIb76Xmmr59kDnxRd21UqDntu58FR+rCNiQ9rZusAA3QjxlyohE9LEJ04zYmp8cgwgjB335rI3GlmCQmTkBugsbOYzmzWtQsqJeiczHqces1IxrqYeUo2Fey1LrixJdWxIa47Wd65JuiH95coTrZsN+9n6BZ6dmiYYt0fEOQjSCeHvOdZ0RBmKG6gphFuUSqpImH3Uxs+kY0KosdmliYSBcZ5TH323aKHITiYphRiJGlyjIYQqS4PhhZhi6WFKqVBa7iJFd5NpeTvfy429QnFDsTKGsoUr4pVotWIVIcoSrI3Sii8vMzVHyZyAoy8seQUMX16UDjbaU0jw/kGuMF954ladVLHEDESxufEp5Uq6WFBpTW/gIeAvZg7rshJmXRQX4yzpgHZCWCOT7qwsoYh6hHURZnxP16/by0A77Tvi6qdrEvyjFPuEaBaMfQPit/G/ayTQHjySYkrMNRYsqWguoPhIG6Sah6fpmPN+yligSeg5TeuTNnCgdtGEwO60jyl2ZKAr9MMBnc0ERhCAuUFh+Sm/atcFbmJ/8MLZrRY0hTV2U5kMZ3gMDt4BKLgxLxxzs+GjGGR+rRzsuaOZXeh5abL+vjajMRrcke6IdStETTDi2ezITCuP7+rU1p8mdY6H2A1Exybtzodldy391EuaHYOoHwnARQCh7NjAI/A7NyY4ZLr6AFQN25nBMh5wKTZnKxyjTfaCJQ2DXRJ6KdbCJZCCUPz93CcBPAnfFlbSAaQczoo3rJlguXOK0mR0xTC51HrMMfTYuonX7udMVenpK01CgsYhwzUybA+8g6d35JWkD6EJ5lgKxVdbRyIwIUJIiSVh8RJw4LLoDzhVnKFnRWRG19CJeN7jA1q0MU6sKyu84gvo2MKev8uO4fjq1Wc8nL+0JT+sOKyCGBM1DgMmDRaK/LjRgAdD7mD6YTRcpbb6QiiteOYkIGlJ5XcqCUbGTQJnCmd2ymLVRLtpFfoRj0ZRhLk5H2tmVm+64h2E4OdAip7rhn73MkT7MoyBwIO4YzZz1dCFNPMo/w/Fydmpc2QDWxMuCiVs2bQ4W36+LtE49/ZHLgGjLJFwZnvIimz+j7IrtHZhUKWfTK6ND2wfJZ8Yv75xaVh8mf0HgrTFAfGp5yB67WwQ1Dzl28eXNUTrkmPVgbkWUtc9u2+ZoIx0NthFn3J0Jicn6Fp3CQ8qkg42c6qdtTFGmVLUiFlYYK76XIijn5+3u6p66vWVAuxkvIvSdHMqwCEGh6YHCGSwhQNZl8urD52Ox3EggaO+wsblYtGfjziSDB14fIWMnl1koR0kkiasoHflVCGyK9N6iG0XnFLJnOTOX2VAwt69xf/GfixB41mt+T/YqMMlWQFLtmTXqPrVMzptURVJF+nbvMqllTHH0v84AHVSpNsBkfam+mIxTt7RI8/3E91lBqtLt/300sQKi+E5N/UrzoaagdnLUd89Jri38hmKmrof2/Jh6FnDUtxCZM6UxJkWzQ5fjs9J5wmdq8TfEdXW9Fv36ApSSkxvZLvTLXZFtodc0bZXqsWEn3xM1fCyy7IfASNpy3QexE+2Ce9FEknmn53mRMFStzWqJgJiJA2PBFILbgBMulHn6OjbnB1hqJLw1komAnlURMgTvF8LyBwvzJSWHb0nUfzYFNQlOeZw72WP9mxmcoEokBd/doXgamYFpTBfa7OqRYeM2OtsQ5xQZvDjPtv0JkbHw3EIaZXVjnS3u3mF7U3HrgHpB/fCxdHkw/CDI9wsbWdzQdwlGSomofB6kNHPozd56YZ3soeGescS98G3pXMlJrThhD6irdgMf/MWxpL6gTzYwuZWKEP11gWuiRca0JXkyglATXdSzy9kyMuGTha2nVjS/O3AnMBiNTBK9kcBjIYIsqFGHuu3hgZmOcjLp9W4VwmEGh9+URMr+ZCkKY1UaQsUvCq7s1F6ieZXlOLc7kToKJ+r9OdHvIeI0ncVJmNTS58sbc4WurtvBPgac2khWQ2ApXc9TVWohMDhmnAhXHxpTfX36JqTawZeaE87vgxC69Ojqch9xmSNabrzvi1Sc2YEWa8s5MGIvRMkJTwLp7AocmIjrypEr3Jte5LKCC3i8SVAsvd1M/ulyKt1M7Hdac4ZbNEBb7nI6/KBL6nx4/XUz1SlLJw8n0KdC8+V5aN8CPJC1o0gAarz1fzQ9DGN9T/VcGR4Q84MJ8SWRQ7n13l3IG0Go3RrcrOsgTniAkzjfJ3IYSJlTF/R6iieKFDLeM0FEkCPijl0k/TgZny9/a1nxu3/qKAmHY1KSidGhrJ0OJWLqmU/wf2w/w4tSZfQvguATeWFv/ynti+l1qwOsv10HGqozsXrMS9K3W2t67B4vOWJdo5hIsjQZd9HL7u+Jo+PjffVEhD+DCP3Gm/kamW7ncD3G+LOYKvp+5xIR0Z9M+/k5uoxL/1uPei4W9IgZ9nqxbUluT6rSEO8Ft72UBljMHW0cuaq58KWQWVp47SUy3x/tord+0c8s0lFGOCHyDpoojamDH6KWmC5f+ySKUuHXLmpXcMJ+hZlfDg0e68+Na09BgQAQ/p/ZjoIrkKOV5PaO9S3gOkz/wGq3rSN+akZWnVfEwTtQtupL6gI5K1PRhmGe52DAHAJmZCcN/ys4DW8G38EzD1mwgbP+dXmpwaw0me/rql7/YjU5poxv1/th91jQUbF6mqznb/AgQcCGbtKtYCkzFQvNfLkGWOKAx7QUlxd2Zm8CuKY41vjYkTaDIXgTTCGIzpabQaKKE3+FiD2FoYGC6wnSrEJ4PnQ5e6had2I5u0xduyd0B5cj5/V4C6hAIYjpWyZMIaYLWX9ds1LS+57KBbtLjGjfUukAXL5XOjKZubCf4ME5i3fsGCUf5PCl+ed7+7rcIEywmBMWjG9UzkCsqFIt0BJCyFUKzwnc7jaq2OyXgpTrJsDMNli3+u9lOOJFtU4rZJyLQvLCyBXkyVI+jW5rjdboGyenjy4gid1jBieDLCTvFrCw2e8dLOBJkLLdh605Sw4yv4BkU8gynPSfNGEJE2zRXErgZLBYmMAKdX6NNudyRzMOIhyxKkrzwTs0Se0pABgbLbdbUICVPv67uCoC4j/zwVIQ8ZNiGS6o0f3mZfa6ALva5cAV36wXYR2thPUGGcuh90ridiYFrmvyBqjNnWzfRkfMW1SA/hpL31nUgZFJHMis7m2AP0hWMk6ouVzZ/aoHTBMemixJwmUPgyOQjLc32f4rHFJOZB1c5JZ4Ha9fMLTI7OwVKk5/aDriHPO/TWJ+Tt3Ac62+bmU4IFuUSw4H8IVRBtb3dCCQT0BitPSvKUF01sJQMkZAc9qOHBcd3LzmtPK4kpdsCrcy0DWrbiZsHxzYT5feoGDpPjlVRBC96LocjX4VDnnHeTIUHhHeOy8b+I8vyczKozZI2omqDzkvsB7DaQxa0MiLCc2GWgWZ8tiWR+BNkm0tckYTvbk34heYP1tX6nF867pIgwUlAhmfO31SfsxmOvAUeHA/24OtX6ehtZZjEYZGHepgNhJ8zbvtEsvQ3Znge6EDM37ZZ/CDmczX88eo+34tbTkmsD6g6tVasljx1SzwEIJi46jjU3fOQSJZgP5AiTJ4W/oMdS9zU0fF1QVUfz/qNN3fGrVPtQSTzyFDqRFxuNy0f4Id5cBHNFkftV1LlRbjPxnGjh75hgx8OI2Dc1gg6TOFw8E9ESYYbQbGQDhA1W/PI0bylnheUeEoktkvv0XMVCdGGuzm9C2fbSR8m8xQyEDp+hEMG9iPdVnAMXMoAnNQ4iHEM6AKdC2wc6LrqHajSeQuFbpN73QWGvnONKlZyQ4git6NJspeZ+VHPbmjqQJ9UX0f11kSPy7dPnKUgMym5/10F68e7SdmO74vUqyAdCS7OoBVfihjA0NPGBiQSotAr5JjMuKdqVFWOA2IyBHxF4gkOUJHjD+0WWVllJHjHptTiqd9mKXRtBOEU9wvhkZKIs6Xt8cyAQP0jIXBiNjc7t/1W8Dv5yxp+3Ct8DXJWIKEKYTg+bzs3yjh6ATsbo3a8hRHdOn79p4QVFcJClmJz4Q8Q6xvjK3vgSk0+jOTIiHnxLgPcn3POOQeGdjtWwLY4jkp//06wYgppKjpzXEM75gz0EWWlblh2Iv2U7QJyoZMd9Wc8XD2V3oucunFfYfN4WPFyK+EXDcZ8BEJrIzsBc7FIuhbUWejPAkeDUfGv5V6xf3ugibWCjqXJ3vC5aVEmEAojCFEzaD7k8wYANrhQ4Hf5iG7AI4xZYHebtCvv8jkADbI9lHi3vZrRDySZX1xgNFICZo8Mn3TghB9hRKaJdv+YPzUW45/OCaped0geL25ivOfQKdsXp7kTihCbRFVBt3ab7HhtOVku26+TmgxisHVywfDsS7NFixFFM+5oh+GxgfATXUEnpzM0KQ6ajTYNHjIspBwJwsKxwjIWN4mPEuThnZ7vPSZchvM+b9FWcBIlJ15qgX4w2SF290VF3l87Byeoh9BSc1hL+dUArhPVJnK8qntOsWYRr8ZWOWUObIGrhDHbfYvTNmZn9O9oN7nlW0UTZ617fVG2AB4w92tzJ3ftKPoaHF/hBqmEWdzQdkp/Wmgtr1LIK+SXPo0020+E1omoOiMhWtymOONkDiSRGoMxy6W/AcVE/elTGxjSqz3K/MfOBEY3SRtndBGmWm2oy/AB1fIv5VE7n6FGICOIvChGO8lAVPWSQggpIjPL51aTF+FJ9lFm9s/gCZWcBPMfumRCQb0JzH/9JO7Xvyo+ymTE19XW4OzLy+roHs/bBNaN+CKwj3hFqpwKDw2lMSEkTaPiy3b4c5QtP7mfhw1qWzIWTxFBv0VErZG8dxtARtEQsgRQ4FkU6NeEjAB6tBUyTZugNdvIoE1sVZz7sw7lc5MuCExRgu5F3AEOhQNr815NTR7J5GhixBIUb+Cej9Jd4FNQ+8Li8qmSvUWVTXGorVTBWeiu0UBZwj7lP+WTBjmKL494pKIqFAEGxsYIoR3sBz+mqN4NtKwNvzxhWAZ5/4Vb/2j8Dd+7SnonPwSxmuiQxeYPl2KkeT7lM8tn9DOSMhM4H46l4JG9+ev7RcV/lqknJh5lfzFlIMu24dUc8Te6aD/heGmJoGETxVZkoTPsKMosOPugQI9iv2jN5jyYeVurs1pz7/CGut4pJPa0Umo6PsLnZtjn++/wvsL2CaSvy/JQxzmA4D39J/VgeLhJrNU7K2Sp02Um3XGQYMlxrxWFjRnVQ6dE8x08V++/9mE+BE1c8NkWbUEDDQlvTbJblNEPrAITPshnSg4E8fftwADNppHmMQdRZUqIReSoJzGK4zmviiK9zX8w5y5SIELTPpbKyVEv5o35642aZQgAVsXOvjPMvobfyvYagRft9NbJOC6ZMfAGdOfXIkn2JwtSwJLskIrkXcY4gR0PNtD+NhUF30DIJGYU/8Vecmp47mykTZmyWB3Ptf+42rwWdS/dVxY0WvKfd+8wIJvkjxN3V/8w60xVA/HWZEJVG34FHgMG1fdFdGpuLwXV6LtPIB9jxkT9ZxuWHte5z/VGgYakqx7o5KOBkFTiidKRsT5K07ekMRw6r4kDQvbW+GVRbbB+DWWIxspg3802bXLgjTxkxyVu37zAYPqY1Y3dvHmYu2MNiFCkzIiuclKLlvH1cQQq3Gxt313UeLx/nHkQBc+T0vND0nR3nho1BSy/oGGHsq9Qn+epwGEOnsQb1NhWfSSmUntw2H7Ypd8Hd9UaHhi4avK5sZh6dgOKBPWSgGVpGegMGdVgZE/jJ8dmtfzG8n7Qbo1ZkafruVTw0PMo1XLlVFCnB3vY1Nv1PHV3L8ObFBeml8eJ4gxjR1gyr8edOALZlbokSI4YqISWAyaI92bHbAy6u3uLKnCPe340BEsv5jpjWpIAZ5f53Eg0n3cZuQIqe3MkU1Kzdr2ezpP+onsRwE5OTd2wWoBqh1u1/CPVp3zmgzwoGrTYog5YPkeC5lIJLXdMzOLTBWYOXfDDU7bgLGFAFRAyFQr2DN/21KVuK6hsLjNqYE7bbfFxK1kbZsQzXGz/tNQbPBZH59LUrbja6yAIrwNwrIIXT/kkbwiDG8S1WXEzbPas2CbygbSe71tm1NCPbUlJXrOoT8iPyedvc+N9CNED1nQt0S+U6/JGdEhNZbVU+pDd6U+QqtiEaWvI5ZqfS77Urz69HXArayQuXAmx2/L4YSV3UlTmAe5xlkTrzYstm8Ep/JubvWAam9kDhDiVKpB8irUs/EFgU4Wz5nicW5NLB10RQn+MQXU8IHknzWUWK2k6hKheqg7ArXouw2QNZa4aRBFKgP/oeG9b1JKQVmjJzld/vfu/S1sI/yks5GRuRsXAFTYEyb6U55TbUgEE5pp6gzOUXmG4Xh9Xt1E//s3Qi7cTsnb2TrH9wTP/6x2CDZBhOGCz8tJQDCAArVYxe7aU5ZFB9p0iFencyzeLFzPhpaY63EMEugd+B6XCq1CbhgiLF4/Gf+LaIleNFKxL8Fw5sPUZk8LGhMk8S8xWuAPTbi1EQwvl6skg5GEzh4S0qYKTdthNQhDAG0CPL5dEsElUQvZe0uS+Ge/mw/rJbLhvXn/W7l9pCUvVs4D7d03FVUjUOfGGdmFK7K8wyqNDYmYgT9IDTZjRp21t/HFRG0qWhB3NvHh0v4bpdcSTBY+qrsROZHLJuWELkljYsWbGya4HY2ok/p4aud6f9aQSSW8ywZk/Bnx+Ccaek3MbZFf3Xz7KRzwEppOPCMAxt6e5zhEvDgZIanrBdLwViKitV2M6AKFjaIICB3UgnXMcuxFqtbh1PLmkChUJN+thGFn0ombGWp6BdSynRG/q6nMqalkhVjAWEdbTQZEVIxXoQU+G5gK1wol6k5z8UGV1tzzgfELQPTy1OFgBxY0hbko5sWNhLYU3e3LymZhlw/nc6MUXBgtDUNAbNym++3rgt+eLxy+5pHycAv66AjRT0zCeMYD+FUhtfw5OIabokMx1ApfznPQv8wHp6FV1CWMd/kAtCHaKjyBcaIByZIe2wJ+lp2CUPanLxAkTg8jQuLXp+DT9DrlXKxVmZ01IfOYY4OI6xR8npH/w+/V33lmacPI6Zb//0g2oMgTuJDlwwFtBVhXesh8N4BezbspqYNshAVpSRyIktJ0OrzF2LCTiMq+zznxzTCS8RB8qK2/7/eOzsFhqQqyMqDjrr7jcekrxlEFx6w0fqSoHmfc+p9/5issc1ojAjpRaLkyJ2895dd1+Sj6GXsi8nfGS3HgnwkBt5JW5VrYNwzKsfrIp8VGAFCf//VA+1YjJ81io12NFAug9GaA7TmBZW2LE/0aSeorKfU3NfYDjyTdlMZl8w+zXgjkRv3e/8KLxvHsjyFsxk2bFWwOmFiMuNoiuWvrVxRJu0XRLkMnGGsJU/6G0PNgR0+h3EfJedkrabmzxwLIBfrvH1isrF7PPKp6reEmML7z6DFfUGo0RSCqDJZGvPTwZKulSNPyUZ9oJq9oPg86YMKFx2Z/VN76vqKA/lfTODLpbcoaBaABLIFFoYinN6X66p0qch9alhqR8z//T1oJIBKvYTlNs/R8GVWloomUg7dIC4HlPY4qwRfrshizFosMq7Bb+G6+EEoSJ93I3TVTrbuTK2TFdamEO+lkUqeRwj23Ol/jwpwX/Dlw3KXI9MkNEx9k0ICX4c1PzTamcrhlVMvOlHfoSsJfDHPUXR5eHsrmJJYCKefZJa8HnVFcdqEVMMYze8E9avawu2dFaKhR1yCvozGf4DIqdK1XCen8bXmOU9N465vMN60/mfECddQKU8VVvpbjZKLJTdsnHCJO+rGKk1FuPRktdl3rjtmT3prR6diwSE+9zqSOl7G3r+QonjqNaYf+ur7MxEKsERKyXOp3gVXP+mlOpWlb4lLtEWtNCGHnfCqtA+ZgcJyExM3sE82B7ZNJw9z2QikRcVa4eKlQHFUKgIheL6Jzr/MstRy6thK65BPdD2qZB1Wnk6BOCTcIsHO909c/dNTXoxn9gcFE6OcMk6611R70ZWTSXPHKLgngOB/SF7v8neLCSYL2jocHm+pp46N2i5Ya07o0A6EI59BD12863/twte6KUU2XZnclEQzQhtEo1tIKZE0m3XvWD17MXrF89423aQcvwU4juMmvg7rkOT3017Tt/6pmsV1m4R+JXUvs0PQZx0TGQmaKiUti62Ssyr36TiPV/4GKW4syER8z1i8qz5FyaJs/3lBcQKrTUppn5pw19VeS1ewfTVH01J8n/vYaUbjsI+eOpJd6iJD2AsrzDQy0BXdNO4PlgGqemtWWL9Z3ADsH7zawMm8RbB3XN67N4OnWr9KtjsRX1/dWDdahfmL6UxjrNQnW0jwORp3Z6OOlGl1GdjALBwtPKohgH6htHTVwJ+5XL0P/PNHK4ltnmsAb/Pi+2STljwlZI5RXOVOeE4WlvAk2zHVCCFajDGQEd9+9k5QC6zrJWZWRkm6tyNjiW5qrF19YI0wXA+MJysfl9OarDpXxNQdzWpOoLcmAC1soLW18/if5+AATIv+VCyX4jS/DDlnC3fHzQJcNxizZ10Q+SGGW0b4hQo8fYyPO/AFtocXgsZrREWwVceuDp1FvmhP/F4oHQHfftiBYe/VzDPZvDaYUSy8ef5+mWvIz3o9Wl746mc2PMn1pUq3JwItcENF/WcVHT9+smdNXJ3V0F7DeRtVUl1NQtfvE4PsebqTuG79vfZOAp2vBDHnEJiEd+gx8cnkEfJ/4uamKHUvpobXSUHTrE8wzkGb02p3KOlHh0CDzdAS3B4UWf5y8LDXZtHjO9AGPk5EZ22QwNEHhd5QCz+AhDUeSf0ta1fE06A31luvZDiJO3HNEWUo6PtuP3pUFuQMfg2y+tFqw84ImdMyH6pvTw7M2srdr4dVBeI9Ik8eEnHyDIn0UzZhga6Yf8QTpl4mHabit5Ac1zt86ooqjOyJU0tJqdnySOkB83/FN+BQYqdO8AvgNarK1crI/6dU12UefvtbSfTfsWakRuty7cWvBsHBQwhgub9kEXdU1jqEAiH/hq40/tMlh7JEu4RihyOw7dYffL9nIuEbNAtAT4bDf8zqWAP/47L9o4tRVRdErFXyprGFeMVwo1nnjTsaugrdRO+w6pjwHBH2U7vE895XY5jFP6X7cB60d+XWQX8zaMw7gyJAM8g4MRzuD2MBsE6JGeyFGf0WF6sxRSZtnrVi3MpVwSBC6MmMROq+VpNA//gKczpPnPYkgFtHsawlrj7N2H5T9S7T1Onp78zGxNLhRcJcaudrURFZAecfNEn74uIeMlmjOc0mF8rcKD0rHfKM/GrddX74oPMyujezf2cFhttkrQyRsCb9/BPX375h1dzGbeN98kEI0HnOg9W/QvRarhcobwrRn/jcERM2r/ukbGWcJuQd1VrgHHdFfm2kpamrX6C06mN+gsJA98ofp9f80kpnOIH6WNLghUl1W43W4e4gCmoMIzMaDqXI03zc79QUcHrIQ3dXjZ0VQEn/ftdLRKyUOFHgvxqzVrgBgeDxTs1OH74SY+mOAK/2JzM4/JZMh72aReam+/8zg4t8t0AH7klvR3cmRzRF7kO113L52aQ+nEVjHhnh4Ong9kYqDb7gKW2J4WgaajxTwlLLXRfP2WRH+KxKQ0J9gBlutJAmuV1+E3T40J1nS8MEBfjkDTlmMnLm/qqqUAFti6AdnEAToV6PCna0xOPjEO5FQXd61eYgdhWkv07+P2lBTQCMXTBY0qJ9JDPd2kcVEb9/aenPE+RzZ5RuXOjoncs0OcXWqXl63Vx1LWnxh2kA0NpEaCI3d9knm36/TwSqpWIdz/av2wt6/hVfetlCV5+2QjSkJg/JijcR6t7G1LT+2GN7x7PKjtJ+pog7XJvzJGcbqMdIJ5vttB5YKFKfbFgBZ+cS1qdFwJWKDWP5hqSdmmNiYsxpdtQdUzZyxYCbWImdAtL1OK7p6oc0OTC3Sk5zdu0BFSndtm48i/l1FMHXVx9KpG4aUeuUzxawMHs79bQQKTNVs6ceIUslg0wVfbZBZbdVzCGPPrIj/f1QTd3OuC6qtCOQgv9AVO3MdlDMSOvGQsYr9pi95xfO0JLr/IZ/jpIwvrfzm7snIwpe52qcPR+BpqIviQRWuoKzP2EyMUVxF6Nc4aoA3FdX/jM3UBvtOqy7+zWxUZBoq9lAR5hGXbTYwePsmAra1a8GNIODbcfLzaf06sCxsgKSaRqjwGcx+TgyTk3DoTZFK8ajm4ca+D3x4VrK9+y37Y0S4pNz4KstNB4NKIgeAnCnA+YBVfoOmZQR+vYgFBonZ88dWBN/giqsS3AUvCMp3GM02fKEtDgEXa+f6L8TGRJC//FR/SRIujOQL7Ot2JqjicUQJABIFI09CFxa0Y5UT/MdhXeNzPvlK6Ke1PFzqSik2n447Az3LtTyOOYgAYTpLzstPzyH6qf7qAmuH27/gRdENr7//nvUJbTsxbN4BOXaenEvgov6M9zygqbl3kT2s58l2GWKVUQv3uN7yoKxb4/aZ9wxoGXK7mAruLKfSyXuNLrdnY3iKJDSVSNHHvzNv7B53rqgoShBnOND5yuOMU4FvNEG+dkkFOAFuGj2uYSpfUmr362pVoea6+IqMOryUIygUGhxCItpGjukiXNBzWDyh5rNgP3FG2NBSkWOZSrVhtkUD68Ud0ksTYW7slnzv897Nmd5+3/SuH2938WNg+13UkDhRQtanbALxMXBZyc3L+XCQOX0HKBORHJXhNoDu/oyBUcJvoqhbV5iEVx4jRqaeZZKSFS8wzHD7iob7BagMVUFUwob2XIsQAp4cjuuS6qk1zcbQsh+o/YjSSpqk3oSf8eo9YwZNehNH+VOTSsGUnT5yudZHN9ftUhHUNptPNStj91EN0yxEaI9hziGmSonEW6BviD619dvFW987XkkPYxkFvZr4naEBJxrotYoKhPxgDGNOdIDa+rzPOVV+C0TELGl2PMfGIAOtlOuv2MWnnaHLQbhHVNlCKST0FifvxjsdL4o+meF6Lrbw3cJ+GanZx0MioYthn5twlx+t2XLXU4PC9uxqdvlS8FuuYBaHHK9j3fquId2EgUNrMpRfYgOilih+Az3nzSSgeGZV5COJdlr7V2RLVMDpbQXj9YZjQAqNb2aEwQhUdGeyjtO6RY+N7qINWoDpxETqH0+FCpvQS1a95AahitY2j6vKlzdEQI/hFW1jIw9HJ/ANJtUmg1W7ye9vKmkW4OIqUciXn523SGfgJ67ZDjPYWlpQMTOuf3awnTmWGWxglraHx4LQIgVPiyaXvJTfTbetSCf+TEXU0OcdvrL/wl6MHk6wbLD+W2Pp+w7E3rQ1zyCGVSVxszZ2Fzycr+wKGPivADPtGwZ1BPGwEogNvRxPSLgA1Xm5oxOB7S842ZflgUPgX5Gl0eLuVujDT92hdNs1hh8UFZ7letJT0E5QrkY+bDTfn3Ylw8aM5Z9UFEbIz2hGQFODF1Omr+egdtOYNkikOhIsF4OUlVRGzUQ96Izdb1miAoz/A5L0NGZot3thcj6JyaKfk/s7dYX0r1KlM/4roz58Cvxp+cv9FFW3i3AVogQ1NhorMxIBUEUEsL7Tc7IvNvDzQTiSJNQN1NSTAc3/lv84eu8DxMxsd2OPer5wJUdd/X7DnO+g+cTZAPyP0xXmtXE63OszCFv+fX30YRInazvk3FjhULRRrJWgy6TbCU0RIQs5J3syxe3NSMwYcqMfCaYr63QWXS+H8MG5P8k+E3prEQTuUThgPqOFhiegUe1Han4bOU3aPsm4q2B6HMsOQiNuKmBeFuNgikOKXoUWgWze+mq+aXZLo4ZGJKFszWn6pVC1bqUrFf6u0Busy+iJN/HxPEhewJ9IWPwSpp3O6cDdr4FyYB2IuzVgmfqSDoiYSvpYdQ02ynYxwto72Dsvut15c5+1cgUuURxiBtUyrutZVQOxejY0w9o0ZFNFqmJAoEX0nU+h0XOBXDLqmccjXswgr00R5p01jsGdiceujx/sDFWU/4n3Z0oKJV3Hj9Qke416+19hv+G4+Z5t76NWjbt0MpFOprwCPksQya1pdzxtJEyCBSfV3+nuI1LYaaMFfTIO6L9pw5miA1Fbn4CHhdIQo/L0sNH0Fj3KJC/mWNwS62g0ZCRJy2GEymb8Zf+MiQO0N/T7K/vDtRVeB2qmmSyXdmjSEfz3atAqFrjJBvlpnAMOYrUrUjAWoOzAZy79CqwO9/UJR0Agk3JdmVurV+3wj2hQNJIbK1TQiLzaxcKkAV/TWXYb1V4FEKqNalkruSC45l1UFZA2FzlPl6ZnIrHqwNUKrS2+a1sT+737V+RSNuHMIbPYY5MxbcNE/VEfiU8DSQUJMvWka+zTYJt1Qh8p1/SeQtTtA8FOvmJsGD84W1XJpnz9Oq300V4DaxznwYpUpv8NAA25ZENC6tfBVF2Faq0XvoT8/EJkJHpmBvSBzcIGZR+WMyGfAAeVzoez5A/c+iwzLmJgRUfWVlkPQPwyFyh+DnxQBZ0xsSfNu4fMpaOqXhkhWewg25Q/ALgik0l4fK5ohr94/XAU81OjLMBAWmrEnVt1AYpzZqCCfyQpG2V7mr/67DN0TU1PXA3oJ5xVAiTKWvFvDxjVLs27lhi85RLnKXZ+dsoWL0DYg1V4U9sLj6LlbsegzKPvtueRBnYXgnU02YBX3UtfHtSHk6fgVe/Biff/rtPA81QgctNU/caLwSVAeUVmUO0afOhkL5aKAwfcrSkC2S0xNLXBcWl6ABmGOrNoPAY/T/tLoSpQliT5GpX7dPWhjg911Hk6BUQanvD94J2vC482iERI2c3qCB1t8USrNQyuuIfFlYTIzMc4BKAT2aFWDHx8jwQNU99Yxsb/iJ2Y9NrAuPLoihZaO8NqGm6rGmtFsdQMb6UIDdZNIb8gtwEKfSBCK4+5zExTdzfhlVWvRHTvW+VvNa9kQ5XHQiT6yfClpbhRQDbNZGigwxTatTs2RgtWG3/+asdMB0QNsxCUF9MaXTmauNYBnZbcbAOCNWv+f2oiABA+clJkAYhjq1e3ZUoyGWFgw9rWSAaT8ui8zNcPr0AVjO9k4BOag+9jtthqIEDhqi8YAe6mmuUYE+cTwyMr9AIoCwgtgBcxfxRnVxWz3JkcXGXMPlNx8F3wMzFaMI4QhcO5AZGwwzJBgtg4vSipPDyYjJz7TXHPds7EawUu/WGtPoWhD3sDxndRMrZYsJs9PC7FVF7LboRL1c8SZbXSAlk2dZHA0riddrlnCMBHO67+xys12pV/G8LRsUv3osmezx9+vXVbOecMtCnHUh08MfxL18sZO+gVZpDApO1cnU2T5qoGn7gZpZnw/FxY4nzjkUGOA6+Gm3e9lmn4FwCTwAfQTpS5jtgiAnXdNNYe7mhQhLuPnerYJ/pnqvl+p6LggcLXyfo8Nf+DunoNqOZNJYBnRO7cFRZGv3M4ZthS+GuOPAcsYZl25Bab/yiPga3BTD32koZYH3uN7MCIFACFbD80eCvaU+TNn5r/eREZjxTgieIKbG9vsVsDD0Y1awE3SwyDk1Mb6fJGRCP36dZ8iCOFPm9DecLNxC6QPtD77+C4XW2i8aGsPgzOVJQGTS1o1NDDlepyrI1XrWDTzjzzfOh5m9NX8l8CdHiNr6IbmnNR84rDUbB+zUVUduSNA8ZsAXgYm4766jBHro0DX9tYHIrctmhTtLMLN9L/yr8PEfq+1temwTd/qidOmD7VaWqO8VwgDfCyVvz3iHhTuJeW4sAG2JLrINZooeRt/eGvI2J5fZss2lwjyYh9mBmH80A/pzhh9X3rHTphbVQyv824EMHanPirS9xEcMnCJYoOTaG3IAUXDdxw0vmxNcD2hmEJmyJUCXn2xMUjsaveOjgDDGuVEK5ypRa4PjmDN+85Lg6ZVYbElTIHAo/CagEpb6Rsn2CGQdexZKCV/yqg9LJkBINuS4Sq0pprN9ZNQWtIsd/i7yq8YRrjVY0uHFss5QcDPmTGXBeffKRahTsLpHNzSlvWBFX+HLPhdWDcFlss68a4lrNVM1gwrkGtql3UHY+K4Vc/eO0mwJA+mReqyIk0adBgVvLF2U4kQf3b9LhB77kqXQ7grydxNZYpbZoicEzPmcpYFOvZ4qqxsQ26bRrrnhZ76taWq3TBlNVxBkfo3AIMzY7SG6Db+Py5vMRIIkeCAsrQCaBGGT9NM8EturnqHeOC4oq25qVG1l3XfdAagPfqF8n2oqSEnQVTj0hq5LlvtsAJ2UlPZNB8hxhfSJzSWEGJGp6UQQdIDeHmUKhPbjR4Y/J6rkkczLtujkpQ0/f7l8RMZR1EA9a+bGXRuGLGZhs8xKce4zmj2V4aw8OkHr67KYNgZSQHzQkzS5b8CMG3AW3IO9ntfg7IP7lYSQTISeH/HqpgUYn6Ns0EZ4CLNz4BfA3VTRY3U723AJd7x2vbp6tLyNWxMGhYrr3RH7GanlQXUmkqYngvX58ffdPOll4NNV2ikehYZqkPLHF/ePtO6FmUyD2zYXxQgSGyvfYYLjxUCHOQlufDFm9a0EB9hRwYfToTvL9WbxaYG52of9c++fk4lsXkbzpgkLWJKvPtGg9TKMXjztPH8/aWpLp7iEH59iGzoePkntfh+UgIPfIiD7CMLT3Ws7aZzLztZZ78pNdJ7Ydqw01kvWjm78KCgoJoUroG1EPXlg34z8j8mEpldUQtYHUH7hyXV5lwANGvAaDJF6rQTqcQA4I9SjvnlQ0fvZoth3vl6FWLtvLoAMS0aWoN9iyZ9ZtzpvGiK/syG2AeyP5U/ebvUxFKDHBbF9BmS8igvKKqMpdwmxM94WI4wMfxkGIQ9YtWwlyegorkZsUARdVkbAGfl4OH+3xTAyO3RBXW42xOWkRXZsqI7CBwjQXGQwzMW5LjoQKS6latT/Fj8q7pIsiT/0c+r5+Uv91Ejw7rJZS0sBO17be1ENNqRY3qUc8Q/xHbhjcITomFBAiAzkmQYmHIS4fttDjkoItSCfC4qFBX72KndDB1e4stagwM7YsdnJD+OvcXPTvz8GKVDRw6K+s0JsbtgPENtXidEL/hc+ATUaRS2UD+ZARIhJ076ONB3Z6QagvEH3Y5ZgKBQ9E4QQQpXrVth+4jVkTOuCU0il4X28IktX7hPesKgWN3UQRlvicy0APWpVgCSg8+wjnT630IrXcUkaqSsoop1c3mrmVokKOdCZx5Q0aXi31gchIknV43HDItkBkpGXWSYSyG6rt7DzbiQbeda7hmrKTi8aSrNr7GzYjVnZhOe1+u/EH7YaSz6r1EQbviDJrpuHQs78ZL/pAKNpVqxEyeH/1ECVreqvBhLudYshEuLb6+O5jiD69LR/ZzdyFxgR+474iUl9OPTgBphl/T11N1PTPuA/s9ju+loSDUSiEM8QTTRaY19vZO45LszyiQ9SmxbatecgB9r+4vb0IKo9r6EscoqRapkftzjb4CNmfiZ/lB1+IaLMJv24mPRFZYUBraxHY5U20G7E36RjRXfxvEY0kohtt2K2ce1Wgl55BF6ZbBtIJU38Vr98uq6e6Dw5RxBzf859gEVQf7M3kjjXdhGZXdGCRWRVRRqNso6CvBvzJ1f29vcQOQlEOh559Xp4nppFT51pP6wMR9FJIxs46FEPlPrPVCQdWqbj3ANX3c/spBdI0aDYGFGDS+7/quxjcg61FNnJDZm/+PfzSpPuU/P1wTiZUu4ivaiHfVbAzTJmv8Ajrg1kYI7fAUOnQlLqreTrH/1gvX3FdBErQ3OlMWzKDf9pxtV9+anvtANaqtTuttUqM1yv3mo33zpTf7OjzId98RT/BH8DWQf+uwuEkeex/+e5FYNeoFK+ScmLBrOdThxfRggwVM9yCZjMgJFNRe/yFpsgqRWNkAQWeFpUmZeX1E5OPXiTUXl2ymU3KPOOqyUaNIaig3WX9F+k4ERsRcKytl05azlecjuBx+lhcbu18Q05K7lFJFW1grdQ4K4D1a0J0PvbQcFi1fTeNq6rRBRMLvNIBS86dpQgGT+XQ9Qha1JIT3MtlcTzuWucztb5muHgswGUAdKVQkHqJsd/K3ig6MsUQyhJbG6Khphod9gIIg6fmcoaXGoW/+ro/oBAv6j9qBX1KYlfO3e/33Lxhqk1YEez4gj5W0Nh1ZR5PtRUH5LcP6iCcbxoLLkOB1d7iPC9m+6yEP0YpVbRW/6tugbFRV+uOdhLjgHOcFqt+EnHHgnBDIXUqbbbMHt0XzUsPcwtq7V8VT+vC+M/cdCB2ZyTzeS3NSK8ROV30XYlApBCL1TREAcIqM5KxGlVGbhDbK5C1Fhl1rT2tNj49+PBoxYteEE9YuA/Ew/ULDDbB/jOrGVAK1zLO/2JTGWQiGjiUrgR2SvncIajsGk4p9K3gihRXAg/9dwN/gxZwi9Nja1ARCm8oiXEveBeRks7bkDLZeic2nGa7YsLkEQZPVHXzLNCleHSAF0iWy34TFGJf2scX7x+s2uHB61EHZdRu2/Rd/TEmLBi2KlSkj/2kvItaaiGpZtThrTe5+4t2zUNeNzbOBrLCsU1IQctqIqKCSWeW1KYyCTiGlXlf6UX6dRTfuKdKdRdAIsDJ0F4bcVlJ6ynA8kyP5aBhuTsuPvb+Z0xQz0NczKBgNyKJOZIM8KuiBPY4UYU5/tob8OMQLvI8AytRbooRjmatsMn4QpKoL2HVjRMvOeKxo67jUhT/3n9TA27BBP3buJQPQkgQbXUODwT/IZe4kPDM7RIbjJWhdero08YoCWOL1JKuvVMZvR80H22RL7nyAxop/fORy/gu1R3nfwOqb4GYLOshqhM1yQ1734SgYe6PZq2ECm3MTaCHNjj1P7OvNWGdxvWnt1zD4+aqc3UuNMsoq7AkS1wErHJdrcnk+HseMsZ+ovA6f2q5botds3HI+ec++M9Wj1PhG0jqqmX17IZht6A23N0JgXIf4L0vKR22TKewJVQtRSF/abHJ83wsOLUWO9idsSGxsMYW6x42KsE1hP2hYHXMBbt0FkKDiHjf8BVPM973ljl4ulvXQyf4M4cmK+jXUuIb9mPYmxOb64qTDBV6SBjU96YjjBVvQpYm9hu85JHDqZ+Sn+EdZQKFeJEJ6/NYEUWmzx22kh23JejF3ydDbjStUR9wTvfRAZzS5ksEqXmDHTec+WwJjekceOPzuDF7nglUAP3QuyWM2MA2V9pybUkDpaAnPTN/9H0q28BTbHBdh5Gf/g3y+wmhVbxg+L0s661hKgVPG6KRF8fs+G87Jd+DTpoVTa70alSEpU6ktl9DFgeAWdpOEXMmKsYEn3r6Zv4/5IJ8/PlLrYtV5KVZzZNf00d19aSL/dq1MZd3KBxmokWG7nS2vOWY+zE5d/PIhe0nCUeUN93k8qfJ8E3U4oHfgfym+wQT86XQbijvsqEwCHmQSHwOtLIAa2h+CVEvhyKDmI9NXqGuK9Or+cEnSUcTyaCwv5QqhNqELBXADzA7FH/s5mvLaP7k0Bi/56lQxA4Rio3+mW+yp5bFxmMqTx4vv28ma4Ijgo57B+MOC84Olquc5/u4wrg7VlWjqu/o22UdoO6NcFKSfdJEj2AqehjMfDQ4zVIbX6ASBqvFKLF//WTnJzbuZQOIUvGp1jpU4yw/e2OPd1a9mqhaGnoW/py1FC4xBt1uzXr8/YN8NoidGp9h/Kf9DhquhYMLpHWQm49cgGRnclVOaS4cxbTAs2BVITWYZgLNjGQ9Iv92CE+amu0PIHU3DrrjLfwNkAO4fpM+/Wt7eoq5RGX7T80LLEoZ2R1BAxk/EzPIGg8NZqwG7RJ3z6BGxUolkfr8rhTL7FXtacXinKofZcGlifaOwQhv3eCEuNYaN7C4fHIEu2OjY7WobSNF/FLTXC1Aj4Bxj/StTXqbx6MAfc4VkcAmAJU2CENmrQMrKGwk87QZtQtXIgqrsMNllp+MF5BkWXr0aFScXFTdWcpX1dAFTZZvTtJ8NU95ytT8oYjp5AN1tLVA6XwAh+AA6GUCfao7+fGkoY2H/rQzIftDppc6w0O3dLSg8FEWz5JOQWWKkd4nui6uAyQXqx5BMEayvj+E03vgUkKKJRJzk5UhErK0S20mimS5KEsmwsbL16EO+T+g0wdmYcK4oSW9PIS8ZxtFf5v/JqoZ9XvZ+LDGmauUnor8kUkUb1jKgcL3y3fg1g98dodRwiIN8pdgcnT763tNdTT8ZxQZCciZ8LEf4pX5J0GdsYwTkyM+JvA/wivmkUoIf/VZC6XHrHz3eHroFKHj1jF6k+L9RPVj28HVlk9Z0YNzyiPyWLIHHHUiS1JVLxWc43zl2xRfPRP8YezsLS+X03sJaYOgYLg3dQHNmmB7NfbOWC5ce8m8CBpXzwXQg7iT7Qnee0kr8zUMEYANsf5wziC15rJSyIqMccXqMvc6byLzwrgBDk1AqpdIpoHpeJVUoZXeM6y9AGdhtD8mS8lA13c87nureX0gdZp8+Bd1NHodyuTRURUhOXe1h+7cNyOldomp0pdFEE3wc5zXMT2jXLP/YhVJsZW6yPScL15NkfnrJR1RedhqwYarrIeZd9urC1tnPondW71utM6UPquRfFd69h/Fwn2sAtUEIfn87i9JgcW4+iqvyXGZOPHlBhNc422Ue2yBy3QcxPb0sQeWFlZy4tK2rR1ITfGMY95XzUuVozxq7LWcLU3QOD3NuQqoeUdhz3CEmsKATG/d0soQrbLKa3q75I5xgPFl/z8TaB9WKYHg8gS0IIGw9TuEyjIhTwr11YyTLDNxHUBdwhxnCgQRRaHOjcWmp9zbklg7Zh3Mcqh35tCy4EcID9oRUfC6NIZPQlEtJP1qj1y1lTlWGqFV5r2BThi1RKG7JQlnbabbkUvsqjeY51pTTekhE1HUVeWXet0Y9eYXxaNCNMarPNVS73+iEL+x9zorRcS+QVjWU9wEUDnuedNMdtjQfIx4rxpuf4Kff1qPYJr5rwtZB8JD1yiUrUVtUOzgJ5PKL12CeuZYZiVgYcQH4zCCAZy8upqDscAbVhC3yDN32PShmZta9QbUxGS+IU19WakRRXACp4oCzhGzgLz6f2sx/6T9CkIjwoS5bVe7zsK+PNmDK4JQJ16a391TmjEZCfA3EU5D3+ft3KFV3+/ac8kEmcyfqpA0w0lZ+TO/lGikBH+KQqJ61mniKU5Ow8emFdtY+aKvafrwc1U2xujYKAyL61mJEL7wnm3pJItAZ1u6WWQXr2V5rjWFxwjoDPQBQHp6pxNqSunEDHdlp8axAP8Bu0nSjjXTGOZragV2iNjIJVCNWnMU1SyU6UnZC4OJdA09L2VqjUdo+3oGXrYENuFtNmLge6LrA1EnXRKiynWL/lz5QqTRHHCs0X1mcI76GCfTVaz7QUaf/ro2wXHMOc+ptIFXOetZh4aC8URPGL2EVweU4c3CtiFM74ojt2+yXymp3CQ2O79vv1U1t/vSyn/5IlT/YuwTUkzrDSzNaG6INJ/9WsG7g3qbrSJYXrWNLvw5YRalIZMHviIKXh2dw1VoaOdJMor+Wn6Y9/EzWD1hl4I9LlKhp4H9NRgk9ML5g0gxKbqlN9rSPVtBlxgCvsOGsGGrhTPRbPdZAxKRm6hDP9mx3CSwzuagHgfOHRHGMWcX106/WyEwecZA+K0oW/9k8I2TNy6aL4k6+0VxFcDAnUtbZQXaZWJ1olh4KnS//bbpd1yku8InEjjE/wDbQWBWRDAk9DSchFiMtivgsR2vpn4KYlyvg65XpaNX/ctzD10OI1EinsaazeeOpgRRc9xJbLcm60MZVOAWPFFvyQ+NCITasu06ujhuaPrAsstBi4flBPRQ3VbpllekW7rckqPbLY2blIwtkfcOANqdXCjw56bsbIyVDKzX9CjFGyWu/b1zcIVIgE72QiBgqqJhVeuND1QGZ+JowJSYmtnoR/5bw7S50g/0v/1bRVvLx4IFqAtG4NFSFo08Q5jClnQk6lxSaJjd32TWmO8865uqqJuzz1wqGnBh7IGOobIU8ySunuI/n46Dq6nzjSzdLnRPloYeToeGiuYXNJWoEhrks/6oV9E5hlpzxFWynt9LnNPVgn8K87xeKgswillSexo0d6w2MH9TT+Xn2LM3ivehtZec5S1uHzHRrNXEUgbT1AjECOkRnat9lYJNixBGqyyOSb0yj+9EBqouQaKuKPip6nQYbIR7qMW9KNBMaqks8d5v7HisO8AmvtorsvK9yZ0faDLxgRsOF41Gz2EYNHldt0XyyyRt75tIV6bCGFehx97kDMFUu12Epvc0+kra/2NEyza9sCiV82ZauJwBc4gE/8LnaEQd6rr7wuJ4knY0DVcW05n7JX/uKCjEOSBjz+868150gU/2KJNQm6iUd/rYJEQIOzNckDOB3x+4eyTxXdFrJyvCQ8LEw9Ah9y0QFv+gqmyAn1oncNmG5LE0gOw/zvLqYCDM65FCvYX4DirHBcMOdbOF645MNSXSRElGwqN8ofRkzUBU8JwzIW2ZbW3ICxaKhEW3AXEtdhUaK4jPxV75zjh+FGSSHNOf7Vsb87IUSwD/VPVqfeiRiYs0Nol7upLmGJ303cKzZAMurNfU35FglKxMpPD5nJ9sVcPDIsWwKKcNYi/Io0hulbxeOkyKn8Yw0Q11VeNTQZuKqaLeXgk6kbbvSm56bb36K/jKgw90urJAPjzWQy3BAb52UeiWb2HSVvRserpkSUpdG0UiRCV8PmfLhnsXeswGc5q8ZO0ycT14dSusmyGtdiMsqRSxCdC7pQKvTq2oIOughjO3CSzK8qu+RyihhOsmm6MPzzU+qzzNgbArlNNJ8zxzBK9XjYesZBsk+7DFKFjiY0rxhLw1SjC10ySOwLG4m6rBTMse7yogomIKBy1ZBr68tyVGksJTS1kPuatlqJNjn/OW4rdtATRs7qVwF2pw/wHFFfbfcbFyGNWmoPz1ToMhHQ0iw5o+XnxCZPBKIj4sKVXggxcfKWJb277hNSqSjvTUpbC+W3+Xeo39qgvcpCvscxCy4VrHj0KrSYTQbYqajlPP6gLDrO+saNxYr8SkR7knk7fS4zVSgcvJlwKLKkkaJuVJ9uXnPznnSHnSlGiQLkHk+PBGN/AkB2jEAwf5Gg02HntxTrF/Og59ez6o8NVN+po2LVXmCkmOA9zAOtX9cBa6pWcC+HyMAk/6SwDuwb9DWuLcHdU8SE4UJu8g6SQqlZdUeWo+LQhoTso7StZZoeO9bNRWKDXO4z7EiBusCnY0yPTdWaXHkhEemizG/i8NPkz1SAFJOPsYeXLfEwfGhgcYX8n9Kq0eCypQtULHA/0WKOjuQkcVNYkQSRlck+P9+pzhkFa2ahVlRgi8/vlfe3iq7WPTclaDjlNgdLApILvmLTSZa2RpPsdWdhWaBNSukH8hSuEBwQIWqTIVHbbTn2vU49H6zXtTfVSxg3+U/PGitx5Ldg+w6ganzWpm680NPiK8FdgB1aRcYWox1MEU3V8zVmBsRyx8XwMVUgJkDvceoFhrTHh7Gr9xA4TC/Z2ZtjfOC2X7pE0fMz5d7bHqotEYM4g8nNvdw2/qhwENNqD54gBGG/drdBUirZodj5YBx6vBJ74xzWDAuh2qtVkC7ATZ8ukhg7wM6bw8DWq8xXpLwIuL21hKmp15Gj6z0EltHPPDaHlR0TsofGczdHwXFHz9Axnem/gE5YZYCWlqdqg049s1aPycHjh1En7LyuoNv+DXBwquPmIMyhuUVS+gsCw7TkuSpAAwag3y68dy+jKPgNaaU+ZMb5ELLpWf3NkYPJEhxPUqQLOVW+A91BM7tlxrLoeXAjc1cqaHPdc7DJSyyrZR6+ARoZ0sjoSwoxemarLN9NwtgTdYVnsavHnFvaIIPUxzL7ilZx6Du+1pg3UPzBt5vd2h6BtP5uHD9cfwAFNrlElWOCfYJBTBAnELPo+vcn1121rBlcV8+S3o/aPaS5G38IXAeHHv+KvWMZCCxqvMejUZq1UanmUHa80UuP21wECQ9gniMLHwK7ST57sGyFF+eSfBzCKlkf9AjfplxEAms16Pww3dQ6LzlRj/9ZrJpsBj9HTxGOUNvTYcsGT/4lNCI4bKJEeOAE1HRyGKaWDVdA2islOZzkF7SA2jjV9BQO5mD4uONsrsA2R/rfwMubKmcrC+lA1lU9bHABDERS+xpQla7cQkMIZ22t1OyjYSWcFeMfUf1yjeAPoyNAjRtVSnsfyuPR5J5D6xQhcT0zWHJKsA+CdNyxWW6+scC0Y7i2dvODRdZxjb7I/ViX5lWE90XhXOyKmtOS6ZjA/YRppYj/TgKQ17Rz+a1JMSYI7DBg+C/J/zh3mJSUi8njqyyMhzUT/2f9/bYbKR1pZyvsZB+0K2EgSMJUyO1fAtSjS/qTPYF/Y141F1OEFcGEBSvj//JYthAX3GKDElQVbbdcIVLgLP6zL920tgpwrz4dRWgd5ViaDT51FvHEZ4HO4fBNUWGbtcH/o8WpDv7O+fueP/ydISeUPhY1qwtQF1i04F+yw7Gy2YdeGrcvNRS4/vu0B5PbHSL5tdWlCfjiCvE0Wk979JPj48zY46kP5bP0lG+W6TL9/taXROPJg0teoapWBsp0Ho9882isYPsUVQ5yTZO1ga1emSUHKTb91dAQT3QFGriyugDqulLQBdB+na+tuE2NM3Sxs7VEH1SNlTCbe9jlSSV4bGpolZTv7tNZcDVdb5ITDQZGc52X9UTv7MsXO5yTkeuWgKrjHYaHnFVa22E9LcR+bOWldVisv9A93ZA2MjaU98Rj7ZpSmWnlLyevbwcU6jJR697kMyFjX5dZd2+KwuVu4g4rBPq4EWfWTfWPKidi1iF5iAVcrl3ASOn5rGrY/O4HJZlYuPPfFr474qFR2m9pzQitmoq2Nwt2K84kc26Uixg9sMu6YDy4HVt2PcZwDoA+b3cxvzfzc5uID6DL7DhfTrhmgm4xL82Mkcsfj+r/NFPP7p/hM6B25QAwNkZRQNjZn8yDznYQe7MyCAInBfK4WeyRlfzqFFmxJqC2tEj3PxCmW3+GXszhO0cpupFJMXDsVVSWguyPWx7Bah7rX3kAR/XYULG8dRC2h5ilWBvjtd08X8kX0aVGNMU9G75H7opL+VD+MEy7LWDvNaNgGG9zX22XizVOXBOVL9WQbl19MfqFkwfwgui0Bv6x0BzE/3TuMISO3OQDpagwCcAEzwyvIGIOXsrQXFzE+lCfiX8xuOxcpf3ZUmrEWUr6TluWjkljSazGyoxbU598JkTBuFPCpd/dKqdoeaWSAmqlJJLhDtGQ4aRxinDxtbk6ws8muOtOI9N0Sx13lbQ0CGgVP+1nftrykAEMhc6vH/nV6AjTBP9Wlfv6bF02J/bW/9W6m0xACNGZw4OCkxOtgJlnQXKpF87AlHmfwQiqKXY1GEueJfyaSjwB3WugXfobrS9vYsie6xciOaw/sIo7sjYeLOJO3FrdTjrSZsazpwuJsjoDU8iI4+JpV3dKVcaF69RoblNLBFls9Vj29U8sH9imwRNSdhn3txWh9T5g252JcCPEG6sanh4C9O2kJafoFUJjGDGuBXRYqEAbxPzFhYUa+vsv53QZwLBRu5P0rCMi8ttx9NnBNTZcTSCXktvWnP51rAqxs3+VBVpG7WLE9dudZK8B1CE5v8Vmzz0D29AxuHodwcXdsfEsGEhumdqAwlBEegi7Lj5c3jbQgSciZueqZWadkKV1eioGqqL8iV5p2+8dgJJtWCfetBUsHGmoqvpA6Pr0GFbHAim7rhnctLWx3uR0wsZUxsFUo/agqX2o/iGsG+ZlNQgDC+TdDb90kTN0K9QNW5O9P+ZyYsqrSP1zjMNB/lo+wzI33pJjMXLSyFTy1MGcMZ4ElJS9ZALaDLck0/XKV3cUNDoI2tNPAZQf7xPzoAxi8EZ1pGGbGVjFfyTRcXIEGLrbnouuw12/Tkqz9Z4dqt1fTVO58ICwoA/8hw9YKfKSRP82cEHFKLu2mmsLO1tqTW4bO5A//AWtDhl0/iWwWiXWigdGTrNttRn8tZRrLER1DEi78i0ZZ+SYFvWrWQys6547sEvaNRdtjd0eebKzkXuO0PIgzEgNzE7avx9asaKplby78unFgZirMEgBJdQvSCgtWH1eKbN6RyWffCjdtK79v4oStofSOfKwWzNtr6LVj0Lcik3AP7uEYs42RlJJBT1I8q3VGKzeTc+ATfZ1+FwIMAeYrcj4OYHyZgppxib/pE7UPCuUwWIjkN4+S5bVSiYX+7WAhTkUHpwh5jcIOaL2WBE2SHVb2xFfDJjNcAWx39iFlgv2xA65ASHhxX90Jylm2f+xlylyZeex/pBS4VpTDs8FDoqrlrO5M1Y+JPpl8HjIeKj2rx2O/HClkMyOG3Ti0Y94pY1sJNHhZuNhB3oniSVrVjWB3nE1aovvYF9dALsaj2jgAAspO36n6iU0tRyPLwtykoSCyK4XWs95gSwGNexP9nmrtHRijSXibMbUlZuOLhCxb/vL/B0UNBxn9Ik+1qrRPb8sdYQWBllGvWSVRoRAC69i6NQJd9hBp79cMeedJ7ONwGln/Hqdb2cNXa34MtfCqHWZV9JW7YvIZsFoOLfZd5gd9/Inbq8KV/AkZgCeC6luEHwkA+YyzEP4x97UaGGldvgsLcsM0pLl4g8AAbIRfz0xYn8axFCk/W7yHOGSeQpHnutH5iYcKeTl/rufDftukL6ZZ+vgJBMJGDPDHW64OhM/HxQQYzxQI+9IZOhcid0wrcCnCQ88LOmkYas8XkeE+AZrac+dqSHzcVMarDENQdhih0ZweX+sfpPP7z5qUP85mhKj4KJnuppw4Wv0B0MvqpiF/OElysVU0fIgOKLhADrrtOgQw4p1UwMTjZzq/JI6yKH2RpPxqDdXhs8+1Ye7Mk3ywj18SHkwISggMOKdLPB/Fzj0i/cPNhHvt8dVUUvPxczdi7Vjk3+G8gy45JaoWpW6geD0N1XkNiUe9msLw5s5C5u6VBBgj7pOAHVJe6HB4BEeiSq/M+KzTfItG4EnWZQSAz/m5T2GBclpDFil0D0KuwQq/BUe2vCEsFC/Knv/MaN7GXQ//zENOJ42+CuKDzIkDVS/CJ1mtrpYigtKRq4e1xIlpiim1/fTTGBfvo6fQsmy7rn7MHw/BAH7spR1+2xZhjyBBYnn9VXlhmYu7UgOG91gok+4vQhhgBwkiXWQG2gMoPa9TbpyDbmhKxiTA7KTKGe0bhDR05OGtdfWMZz8y5YfuJ3zUgB/pIlGYyNsVTOH0pApmjMAr+VQakUwXR795GNi/eD97lzk/bfbfZWrdW6W7nlLK5ajmkwyPp8XL+X2yosHSl3IN6YCdYa7mfBrQOM0Miz38pfxsUotk4f765NIQr/wE8lOK+Y4b/4MzurCoj4WU8rd8Ylctrqd0hp1WO9O/NtzFuOeSdgOufwaNteTEG8DbCxM/iwNVyyG5D6FA8H7Jfr63MQDNd+pdaheUCFhNLipR+TkpIglf05YiiOJhmuCVAHkCAYN+u8o/jNAL99peB5fVirAsAHG75qh21S8i+IcQiB3sHVAOSGvNllX26AcSgFYXH34IRcJ89zLqTWdN5laG6fWQrV/WUVskZiTmChHl584UJgjS29FYQduqVqYWAoMxACb/ZEjnGsDyu30s/UQgSZuRu1vabSzUXHJJz7SnrU4hWdK9fJk+gkkd+c4KDzBbdUuFK3sIY8dDEUsudQBZO4oib1u9DRFgq2ZGqeICzYgc+XOZch5vdE7BOyfXAGSZ7KschNVcdkcSu3uPlvtz+XPnYU2EG544tWngc4xdXdPaMLA/rYcLfUirgmVjk0W5eWDaLNGwE+G82yFzFP0vcppLY0uUEIwEq1cUkHnOcc6hXRywfGvaF+w5Jgl3CqYp9DxepeSL3Ehk618yXcJS07A6I/di+Tm4jRCIII0vQ4HgNyubYV/W5xF1AQYehakHz0IOeXu5YQL0LXrP6XYfiMFTiEkddt8rgz9Ay27/N+mxf5MhA1ipXVlWUl/3oafrECHcc0LghXrYBwy2U+spHvlWylHsl04tuDbRfTUHjYhAsxKftDdWcrC0BFjEgQQPoS9Uqx8b/mjwrfalvn8gmBP+ZsWQhjEEVQCo6rhOdAw6sBsjBws+WP8HRB9W3XfJK3JoSmdy1ul+u2IVt2zq8QWH+TNbO3IRz/GIca0OHMFukhHGaGOdQYAD2cqEAN8NFeg3pl7eNDYw19xDdvjC31txtsIp8X2DE9H73U1aJLetBkJ1kOPxNN1BcygaRXUwy/cI/GmyCU24kMGCEkXpVOj8Foj7GO7oVH3t8zqlTey1blTZ6RrBbE5Udee0sHyvC/Jj2ARaDgTn3riUuMAIbunT0n4/hSh6QXcn4J4Yyd5TDN9Y1LuJM4SxEJ/clt0bj7BjOi0vMQjf7cqiFGU1QhR83justB0gdx5JA5AQZYylm7UiKLPrtdIj09k103+4u5N0IkY+tEZrPWnozMwoY0MnTrei3FWASUHxqUIV0IpOdLURbLplpqh/TNBybUQj8v8m+NfH65A01SYiXz8lpze0QZt8brcGP1VDknU/LoFK0lo0SPzAh3UTWi9h8yosfFtwaKGVCkb2ZZinXotDAS5A8n4rLcypg+CRnEIYsw9hD83c9O55bixEYUpR/o2Ye/yRQQBrYDaMPG2+p6WKNAqvf/fUVaW3DWg7th5vzeXQ8GinyVy6CyFnztTE/wPq1SmH3vC7tzlG38sIl2J10kBzrot69oXWdVRag5e67tmoRtgfP5e+XelaJ9T1jZKFXV89VTbPlLlkirk+iDIenuW8d45MgYOR9U0dW+znHuPWRJeM5NLmI6IH5PC3b5TTdbNkw9+daMaQPlLW5lP9BSRl0Qp9Ff03SLDSDVqtRCgHvR0KdRuIdIpKof9w/EsaqdBIT7npvgIuGhmv+t5Z6bnSBTFwX/2hkMyFLNW5dWFNRylV7mU4FIvrb4WIUIZIPDluD49PrpXvQsRcDFen3bKjFqBtyvW7YBmQ0SBuaWH9jEedOfoGSoq+w1BYm8wuQUNeqIX4NJfv4Dtsu4u203ZxS8vMT3vHTJ9A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xRdLyPBQmwFteRcmjXfmIFbm3W0VzdChVJMhV3mHDqFd3n02aUFWT5uGt0RFu/sjMTyHLU5gIbGEfHz2D6/7SsDoDD9FDda9aiA4RUyXnpOTB4PDnYdt789vE7jWjq7wJ8MuKnv0Df1fjxmZRK1uF+yVafRj5zaM71LJKS7dMYovlRKDHa3e7mMnl6peiBN5UzpjYhZC6lGvmTU0QcUTO3QL6t1mFNNHzOMRqSwkPINcji5+pAUmGYP8Mm9+OFn/FF2REYlE3dALr2leRHArBF+iIF0W3Kl5xmdsKlujW5JtHNe8LL5eKxA75bwApX1FpAcspnLSbw7BNMwcEPh5/HDY3y082guCuc64jtgDyqNDcZVEE7+fJjkk8VsqWwnq2Y8tV/M7M+P+SaLZAn255bTJeXwrPDPM/O2dakBaZuQyckYRQWTH6EoyEY9eU0bkt6tL+5Tmgl69/r/6VNLsdo+Dd3Q/V0trvq2pB0/Y5d1QHr1fXzPyaCBfGNBKnBgqs0yed2oAHhMjrSKvaQzgYi0sjzBbdSHI8Yn6b/XVXGnskJwN8dPEb1HnrC1ZDgJYE2u6mA8SynCAx/V/jLuj7iEPbg1xt7QEpyLPznsbClAjGuzQLqvPnjxuj6OFjnsO96JiMu8jAmH+V+xy5vtclQt3GmR24LaW5bDtAETsY7ibkNXCmzAiMKRmrE4Jm/rWr2YWCCabdCbLSbGyPS7co4uzCZadBcUjULOdeQC5KfXggkr9/C+Ucv9xLcrSFn6VisNB42I+Iar4AyJ0ZjzBfaHpRjulYiEpKL7nIxz2b2D6/77KBTN9NkfQkjMM3pod73aLDQcDBTLqworrmFVj9rgbbLvbWRqCVL/cWLoiBEh50sKSHwigS1LfyCl6GeGo3slPHklncyEByw1+2SA0k29fjUH/StElqQUoEFoRMVFcdoJec/3W8C31Rk8u8Uonx8eWGLdM73a0wwxhT4e98htvriMRQun/+sofqPqsoWe/2d2ajZRZjkP968TO6XGziR6t04xjZLM+NTW1gziU6IAlWLUMy3RMvuCvqTgrZstY8GV4OPsLWaJjs7qW1kZeTJMAn0qWdRIDQ0yHu60MAs1z4EaoS1489B81x5g7HJciZjTnRF0Mp38oyjNi/Hf8VyHGAbkV8oC1jFvXgqJqgUQRse8USwRl19kdGli5v53LDkjZcA01mYgnkjGnuNws4SZQEdBYtyRFL7k50uc+s6BBAGctp2BCf1OgRE0R35HFinrFcvJMfh3z2yHF7GpW3ApojTFW4RjMbe+yYh1A78xqEsKnTazxe6aGcepzsIAfME6SQQQE1T9J3/s7AGBgKOnFgRzZIANiIuFM/lMFhIyYrPKWlKM3pR303dRJJBMsweZUFa0f4dcXe1gr4z4Cr9zTGgXXz5AEOxnGtjdfNUa1vy8sxF50p1UswrX04jrV/zzg+QlzWucNVUv1zNBPNKawvT3kAcTIZ4eOeoNZyzNT3Zj+f2FCFe9ZWxKh86r0gOwiOQHxyOfl+f2eA2qgBZBvUL9lxlCNopr8+Y0KoVXZKnaybGSCseDPA2jIkrc4p48kP/XXb3yS+04+htBZ6UltqHKtvEuDi3x5uY+ws9T6z2HsSwaJc2kmRm0klO+sphGkyjY0z6b7fsqI9wTFV5jQnXj9ZXS5YAJSkJ0O1hzAQaG0T0yDSYe9+8c3uL7xQX7ZFNMXa4OQG9PbGmFIn6M8o5GSJFTNZ8BnIq5nTcL47p5Anh+MomXxnBPxP/GrLJ/Nby3IDQ5Ue0xK7YDq8l1EHPhVJXVXSH8PKL8hr1tAa1rUERLZcOki/PkusYy7VrKqmS7eh4sg5Q+ZOez90NskCiXQE2JfqDeIMqKtzJe8sMZrc1hXWYjzSR0nS7x5IqwBM0IltR5c1ZNZJjENLhfsw1tdoOYKc56/4iJFNsDqaCjFqwKZqIsb2GcfvGsy299zPAnOU8mWc34Q1VqMKe1aiNgzIEe3jLBJna3/SZxxCWZn2ae4BmnX9j5YW2rt7sMT8UHzu2lVZA3eCGZ6vakMjonUoLKWEyiwqgBuxjqMiLOEWqjWSSv1mmRR0K7s6szPA9XwUU6rRMXrudnhXC2MlrwyzLChsA/jf4ot21aQstu7RScQ1NjhKi/VB397AlOcGCarRRld/3nyCkzNFvP7iqK9h+/RgbnNEoq28KjeKGh3L1io45gLzu39kv24mMJyUwb3dp2zWDHZXKbof1JnWUcpy9sb6lizrXZaR3yD4rsGIvXAvWKw96wHdYRx0Fpbglvs4xUdWfsWnhVeR/fs03dd1YMfUf6INCR0J4EHSKBmveGXkEbbA2ENcYwqM0oOFcRKNjasw4R8Lg+A1OgZvPbIHHufhnDbhd1t1FQVgDQhS3ucURlWna7RzQhJV9Oj9kp7fTr9V/uLMlfH8McTp3rwgGfa0E/6JMwLU7c2rcjvIC8hH7YxY5+eaNwEYHMa3r4zu9MHKOLV5mMy4iSU5P4EzAIP7MCr6sAX9gB72FUNGCHrBZHwzsseTXrTq51Yjic7jHR+4WMuSDr6SsFxF9qfAfNP8+1NUKt89X0/+GJiNfswYpElLnIU+sZBXIo8+KNvyFn2tY9yQLFPi0StQUhxvD7JQ/x/iqzXJRoHIhWj4JyOJKk1xdrBN1RwFvnQy4RrKis4rTiGkKYvJDP6P66G7DXj5kBNwD65RPY9MvNQtKiXJrXb0rXAIAZWZb0Z/kVirBZhPhFMxdmYaiPcv7SkhtJ8aXxz+8PBFdE2/AFUAqCgfpMzjL/Kn4INmiWfdipeaHghiZWoZXitPiSbvWnzcCO5Fy0NC/oKabGMUzt9CTyTRVBbCmrnOOY59EvRaoJrKxp3ppF4DnjUqb6l/7hzB/Pn87y1rXWWw4lNvzS97Z+cxiPBqviLlM3mDIA28w4yyqDHUqH6b2yQvTZIp2W3SBb8ROgqdtGUeouJ1XVWSaVX5k7puJMC2iSetVbUly4vrzboKXXugO9hdowXk/1Ar5CvGbHDoKEy15bfjwIuYTx4qeZrEcrs24y91IOU5ldWdZDuwE6T/U//D+HBYYV4vk5NedKScMJ/aYlbfUIQd/sW/8pmWNEs9EH2WaG9Wh0ajIMtcibT7cH5Qaj5tmbeB+QlYopZi5nn1LBVBqVup67+erJcUwzIbjpdz/oXdTVJovWI7EWvRf+7Kx40UaKW538/FyoNiMFsYTTQLjn86yEMjyV5Rs52H0pdtQvZFfQA1DwC9ltkb8v34XUMgjJnCbLRmTQXoo4KM0BhhSfDhOyGdS5sJbNzm6QX84DLWGzov0ERNHLoRmBnQuUNvl0/mAN8FjN/r6l4K5dckY23bOFUemryGKk3jbeLLt0xBgcrRomClmtGpl3HVPPCCZkMv5l8d83W5tJ7zACCaff+WgUak9oaN8/axJ5Al+Om7/LrdRECBJ2sbLGaEPSTbk7gAIcQaaosLb/2ArN+d1NW14Bywxb4WYf+vDcbNHPFjnC8C6BwDqGAQsgcIVQr59ZHx8XmzSNA/4s2KOb4sE3XlTMRzny+he1h+kPtbuypGugCPu31QUCHxJPjRI3GzeSdBtwo6oEOr2hZ23GhoX4BedjqEKQAERSpg/FNCH6k+6UgjQKplFh9NclzovFH3eUSgh2vOVBBYnTNWsk9z+91deNR9dHllDZ1e3CAH0PfrJf9iI/tBAmPN+ojA/9yAjvX39yXdN8pmYvivZe2jxJrjMf3eInrV9Omb+9oqmIBDfGuYvgflI2nmgTSx7b8fbv4aTMQWEmZ8ijwuolMozUZv4/H4JtmnYUdKBWnQNKBb1srCh3dXFLHffAMt9N9XZGHI3aY2sG4IyQaIaGWtgMg68y0Aquagu/XC4VAVfCRR26Vv8/DWsTxM6n2nGqZB7EFvAbRNkaA5DQM59bvC5LOsw+0gK/J2TFNXnXlgmT6e6iWXeJ/9pIeeslwIvT6a++XJaKkuSAO+MadSqIoNpKqOgxrQFdxQlukccUB3Cg8j7w4xNJ26mt63nXY4yhEaq0MYYQLdCBh2zDnmqSAvA5L7lDKtGLqMVC3Os/2JuHSi2nCSUD2e3igz789pnsXwhNfUMLmb0yR6nC2+CJ1IP6o3ibHw7pD9A5W5vh7Tf6E5oRmSVFUvxJfirvmzal7gTjteNJuR/jdSIzzKJLpdcJGNkMAcpb+QZA5q9ZnJ18Ow5yHUkgUVK36rNI9grvOJJ6gkIM+6mZRluXfLAtNPraf7yk3JwsrrYbyjrTk1i9tJxwW7v9zXSXfdJHwQCf7s9w91W9hQoFrLUmBFGaKF8+SfGVgqpHYtf8yyX8NAuCJFx4My0DYVIaP+b7PdrxUwAcwsHGwrvNnnoI3y0Hfqaxk03XsGVrFGu7JH6+5C/2OwpS/iUD36oGWCk+2xwxTD6AohATrYqoC87s0RjjkocS5pdEsQ/UvrVWNMh98LJLVMIl5Vmq1wWMIoQgDBFhGV1PuMekCz90ssYRe890tCzVM8/OttXVUugwKsEwKrof/qJ8gUSG9o5G0OxCrpPpRu/Sgwnc+dd9TtKwDK4yGjwd8DkXaX1AfLljrZkRvxkv1DMoxLKSk+dRMvy7V6RhpjMkH2J9iiTRUxvnJaHT6hrLF5ly9tzuPR0HIy3WkQ4LUZQuVpn42RLJb/j/cbOElf3OSnKfxmOLxCELx7zcq7lBdHcj6YkFZMwdXoqYneK+1dtvSvQ6JsvKcHrFYMfaPTa6amr/zZa0DCGxLmruhFUwrF5lSeYouC+l8VK4Byil92n7oXx1M70jTIFxIzeYzvk7Oof1WficTsepLhcdcCpzVWu6daSUjUoAvrT4HFV41B4eoLSDrdr4DStGw/IAtNJh8j8EjLV4nXcyYTBMObMnJet5F26CAb2Sik252agdQxciANpIxBdONziiInYJv5A/9sh5ZqCcuuWcItCSSc+eaAedPQQj42Z56mI0zw3vO3lC/8Km0Lyzp/2evipTo1Zt4zgkcqKYicD+g3yJXdgscnSVanHcMjrgoheuBSRbZJR9sZsoi4D2prNuc20poM59ZRXFNrChLaPvnnIiebFh2nFSEMOEHIBBXxDZemgZwkfssCFx2323T/19q/KE0FmP2wxR+PiYUY0T3Odj44XhRyCyPzqLQ7hRCWsfEk7nXGg+ySCVXN7Cqce8zp3OlrW05HsrkPcVqClVAnJrS/Sk/eOyGjX+8PP87smAP/ium4MX0GKAmvGKgazqxjLmHx6AdmN7aCgRtZPqPb76zYSt3+7wOzKPNNNgNYVcb3GdsVCbD0btasSl21U2oU1jzl9uNBtBUPgqaF6IjqX9md2vhQimijJ8jMAt8Y6Lk8hHnw5EL9mRT6jKFa6bz4btBjpLd6/5PbGApHuJvellVK1tDihf6z+LQA1E4YgoUGkBwsHI0bLzr6YtR25cHGWvG8YMNXJmEdT8euwd47miV5J9r8SF8PVkG50Uvq3139O6dn5LJhjaimOrlCilXcYFCAmOFNxQGFvvArX4LDBC18UVdMsgGocSljNsma2o5adR8qD3uleEnW8bBrbyvGeSSw+A59aUKedKTIstSizsh+IzTBUXncZEjMafxTsD+uzxb6t0z7/n6sRlO5+w+SN922qAxHbD1R+OvvXYigq4slINAfEgelpMLU+5MZhoWIjnHowB7oSObLGKyCAps8QrkN6r7iLZssGCb9FO2f0UA0SBGaP6KiMZFB87/nuwBrwCKCPu+seke/PzWh2M4vPs1t/HtxDzRZJOL+c0esiN0+5um9sT/ld+PR5JM4/GRUbWXNEko4Tash4zByN/JVAz7AZboaEjGwKol6R+DaUSbbKU8M+z993Z3NSSU5Tw1E2s3X+aG03QEBPOYftoJpyaNgWQTp9J3dqnFdcVMMLbrW1JT4wjPwgL+C5dAY9llY0VxA99akgt/C+qRgGeM1DGvZAPKMxw9GPDxPAEddAP/J5YP37b/qolVghfdFRCQZ7hK+WQsj2xueLrTTAbBX/02IsNz0iXG3naF8vWiNWuSZLiK9BAgcRlbwXvIsQLWP3pCPkqifJ2ANUQytchK1WFyZwDoeSUaRtTXEgwSew2xwIVYEcNi+drqigy0nleRKoWQQSjlH0CyQU+ppBHPcVSwld09t3qspmOvCZzV5X4xzBGmNnM/qZZvxSEp3XsxMirNKwim2g2HausO/U63YpJH9l3IEOA+wOrXgI51VTiVLQLIjN/fcXeHDO9bGFWcbkg66H/maqRcLfJiF8ebbWk31wdKpRwglfEb3lh4duRC0Z8tMDd6J2tqSOrWB3J13HOTuY1/fjdug2A1h4Wle4z8oSU8pNNk5Vp1iqaj/a5SMof+pbOZ4oMqesACr9R6DgaXj5TWLKgBNNtBDy3tHAcyHUhFs3Hgui/Mwrtpar4mHZbgvonIa06RR8RBGRJPLvIbh5T0ATGcYRd5s5rZvZ19eYmfTvxAxnxzaYVKxwCqOX38WzqngVWSep/41JCteaXqpWII/Uvx10Zy+ZV5vfOryle+1DA6dYuiDhNbCw3i/QJiYccR8NGLPjo19ubBq1u+KAX8ndZCfc9blsbcKisxStDdSeFsVw/e2ifswQhQ8zecgavEnwYjMaYzsjv+BLrGyoy7cVUdHBTiTJX4OA6dtTL7ViEgUAcCIN98o6NAXhq07H9k5K/nFHGsyGYs9ErtoRqAJpFzTyy1B5Y6NiZ+TjTlEKL76dIRiD5+2njNqL5Sse2tWrpFj/nE/9C1bGgaZcKdJX1IR9dWESq1NVfMsYg0mLhedDQIJE8qAwWXRozQ3pqiqGYH/kGkviZ9rmkWYf/sxYICHQlEsSBVA5Bgx6E9FRzbdWOf36iAzz2YjUeTBb7qpcb8gJNRL4v7W0Bdx0Xx1ZJiGpgCTjEp/7NTfUrRodsVDNdLOqBnMiRQi7l1AnKsjlMSgtUL4VzUATVwpovGP4uyu6p/VXkIOjapfwfad/mQnhhbj3o/JX0lZKMHIa0D1+yHIAPmUBHJ6jU5l2er+FwJoHWGjGPWUpiTkVYbH6OWwE5R8+gO7U37IgC9H9BcAH4cOrqahr+RsUQXQo8oT3UYptdku9IxcPvttVFft2/PKvDeyR/PRaTX0Ng/vMhfBal72obeL35ISHp1L6ZkA2T3tbqNTiAVwyGIwQ1WbBmdijvTSpRtFz8MpAOgGySu6HUOZlcT8c5IMz2p8Yv7FlXkBz9dECPz7GUw+3UeqoayXnc8gcgUgntzJojsJOTRLGhEPkH8YVuiGohhCFIDPDt2j+ymcSQLYxSic428UoF3Qsy//AgY79tLhEk9WF75eJl+Pje5Zlt5zPClnAYTYCWyTN8oOSy0T190TQKRfFFO2rDJdqkgLXxuP96kG0k1zkmXLfyP39Vz0BnlLN5ss8N+g2cDhvwXfbpNzJgIds/dTfkX3WFrb3Reg/Qj5m2YL31ZkjGgUjxOkDEJUVFoaUSDaAOI62e5nmTYPAy9twTnK9g5qxk5yklR6m3ULQcoh0Nofo52aQ8CMaE3IvEA4KFm1wxgiu0C1WSywfmkjB1VQvRociD3Gr4QqiBM/z51mHPS0MuGh1O3p3Nqytf/hx9zT42CM38agqfiRZpADAbcAXqZseVLi3yPx6oL1SjANcRGYCCcUyBsMUNLM9jNzkvyYL7wY43oI844t/vDDYqPAnzb65Z+JlhKU+cPObhAgL8QTyR69/TexE+3bJ0+zyRSTKCubP7/TI531DdW98+nLW3oQUWOwU+TlJKJRBcAiLwbQBJ0ul7PYvnZpsV2kWt33DLMN/r3A4WBzOHtC2Bdcu+MhVqvjXaN1JxtteQ/dMUTBiD7udcSaqBoAc/HiCWC3cmRoSAjEKBLpZrhgGoMWYUdMnM2ehdzVzCSSPQbeKZuOxzdXhsbyHV9ZQyZad/A+Pi2j4wxirGweWjoCGQhM3Xn2Iv6gEsAPbK/HkKIVN8sU044Nbyk23o6PD2l7BYLP9isPk05hYi8Y/Y/ygBq5InZd5QHmikDJpojKIOXxDVx9ZN/a6578qZ5rSdmSC1T7vSIDH9K2JnOM4lpwLfU4aJM9GzQRq3mocdh680dnSGlEDjIYQKA7cqwdrHoHK67bdRC6aP/FWm84YBN1ZrHkxiR4R2znaBmXWiIIZVgPgmgMbYZz9ka1x/D3kyzlVYb1cNcyd/7Jql7KYbvBXWzN2TfckUA1M1ufuYVCoXfPvZ7HGgikhllBSpDZQi9nSDBL+1cQutKNlz9Hwvf2i6QBZ44V0wl3/KQgU5zmevv4ZQbMEh+5LUgHtxtzDcGODf3Jq522zA7+bKLa8qYYx56rnUraeJTcZLoojwp65yvWgyY87hTVnD5DuJ2GpQsQD7aF/qnFQhYGTnnuftMsIZI9WQaOTtN9v3X1EuEtjRga/LBgQW8TXUgoCG1a9+Z6SarRKnu2/uo7j7QYiQlKXsbjWZhH9DsE7pQXzP8Njn6DQVHhxQ6a4c5zFXNulc3wH4XnTz7Ub2M1yItY+5MlcIxn04X3zAepvxHGqZ9lNIwwvN+bT8aUC9mfsmmtLNuTYic+oKEsRkgGMwxsGIilUt4o2tmFhzhyWpY8xGlsA96IT1sZGo4O7QI2sp6GGJ04As4jtgo/kbNlq0ybG9nt+hLSzWoRZXNcBYR77ekE2U1i3vJUe0DAfxsWHtH4lMt7YSjVmkv4+1nh5RhA+pOgRYXaYXQMGmgE4zVjOEohqcVaDDucXOKc+GsEsq4NvCLuQtxfRTqgg8a5BxOxzmo9ez6U6bP0CxBB+b9g5HmCqSUqxoApimRPRaR9bWTyS5S8BhFVINq7D5ad3qZPc1eSlAD9usAOZbTDsoMVzyGDDRSLXYUoBvqMpe+f/jxgnxz2njhTO675txLN9spvE9njzBNoNB8nM6HkDM4++sja1ns0HUfeyh1UP8p7mOlSVDEGjDWveztkCRBN2YRvOirpSIUY0T8W3oddaCWKI0ArrViLr9gFvlfKLYbf++8YWJMpUaBr5P298W/43WFhKY4uUn/cdD1x0HzO7zCgWJVw92FgYzR/2C2MFuRBRPLDzBj49KGanmeHJ7FTOgjEhUXb9cFAGC/oIUMfoDcp2dtDURg6E3GCIDwAXnEIP/3/O5msg5WW93dZ5O7GX33gu8AZH7DB2pWmi3ieIJmz+rI4LrGl3hLNIA8yeqFg9xrMsg4h0EyJ0EF0dHgADDzz41izWkuE5ZljB5GmyYEoHzQj8AK2ZE7G/t0vC3a1cnhJEaSTHuO5+ojbVi5it+KY6/Oyhti0Sx9D930VzbVcN4BC2t+eSCNtPM7lG9GXL5knu6A793EHTCKQ4aYerxuoeJOs2CCCQtDdxniNjRgvBMCFwHQDNTOJCTM79r/dSyzCTQKQLxuaedWeg5p3Y/pYjQl2ynWiUNQpLWTwaX7GLxOBqxoneWp1x87fIxL+Hhak0jfc3MnebCQ3JMGWZK83d3WJqojRetHEKNix7pSMvJ0IQoDPpzye1n0xF0MeSqlxA9nPB3BHOWCuRweVUgKT8WGsYG7VuJHrU0xUEbjuOyXStCtTd/mOR9PKhK/K24HJhyERwsGexJaYYu1kGWQqOi58ofpZZew7IJmOBgw1KZuU4UOZEv/obkfrMHblBK4z1ML7gxwWl9YFeh8CL8k/8rAb3il4Xy8BNvs06Bct201paYJFu9XnH7rVt6+cQ2jKNDQY/b8KO8gssiDA6kwgA1Jk9eNLVpg2fS1UypO4fNNM6fvZw7oQbCHV04HIC9TP++7ic12LkMcKk/1vbVMItVmdllveNEtOWrJ1WC1ZCTEodHvcq6gKZJSGCbRM7yhklsUiOas3jpCNOSC88hOA9EdnpHHv3j5uyUFZlprfvEN3Dy1SpzzmPYR21Ujb/k9SftHWGpkr0nku+K5sg00gaGFuaYHgpreehePJBZvUgEhGV382Fgv5sU/a1I8+1j8EzlMykxQ0Wd+H86h5gvfVsN0aj70GrcwvtQoum/+0crtZOg4OGO25lGYNt/7GidxyUSioflwUxuVo80bm470rn6ueF5c7h9W4HTf3i7Im9Qz9JkZyYjM8zjNpOerl11BqxihXCbYgqxu8zx/FevhEnCNHKrzos9f8Nu4xnSA2R7BV4TD57O6DLE797KF9Itl3J4uk9QVWraXUJYSjPRwY63XSY1PGmndKfIxyPRigEjxE21ttfpQb7VlvuKWUkaecL7sgN3rkCbR7jdx9rn84mV3toHV0foCMlmQzz+w0GcXf1jYN70cLRWw4vsQqO9WEA4Lcq17HR8r/f9rTGjBzyIqmu1mVvbSgniF9fxR6y3AhrBsnrfeiPDuWKzKwV6nwZUWfDIHjlAmIxjP0vqsUfwGD5O2CoOGPxZp5VLaIfBPwsi2cyVGcbG6xOGblqLyS3wb2M5q/CkaC+3PKMBCDUTMHBwiWXIvp933YBuFPao2bbOEyp8AP1fu2L+1Qvf4sBTSVfNMYmUq5JkZDhJHYtw8CjcSyK/JDFi2DbPxYVfccwd8MTMGsx+yr0a+Lx/AMlyEVMOuwDyDpf0XUM8bHvLNrdV1wZzvo4Y8V9Gg8yOvFAq9N+GzkaRyLYXxZtssO7CxjC64bCM83VgiHsgu1uNzHWHfmVSS1yNRCb3cfsollnOyqV155+6bB4q9lzm+K2kVtzra/J0al3yDValI2jBv4WdsJtUV9wdV6o+JHnHZaG43i5cgEZNsumDlNaz7wyTQ9XyO/gDZW3bwutCnMtLOQaHtSawIkO5rkknR7OgCUtpId7v9hg0LSSFZ0uSdFnt/ZgHMSOgqeMpI+kki4e9llBcvoS08xi+eM999+UM7MkEVUHipo4ptmmRA8fhzvpCHh7f/Kq4EWRluGB1PzmIy9eyI4CBoSJUdBnCgqDUiIn29fLo5//tkCfoJWiWsZ+Qt0HP3Is7BcOqnOhKKniFPaLO1puwzJ9rhA5px1lIEUNeNxU4T4HHS/EaIN76I15blMgUp3Rr2nlVs0PSQJyEdw7XzNJQ2BOD33oZSCrjezQPx6pu69Z6bQvca9DiklL34eeCEHI0VA38BLWLJhqfQffjncAQQWYcYx6BJqZqHBCBwyuWR0sJsAXxeCdpNa4pDfJx+y37c5zFDJ2dSJ0ky//oWRzEXPeoRKG9+CaeflFHoxSdVNsPVMwUsNBrVmFazadgyuBwTMKhPTKnXypBhWruiJiU9QXSC7LWV9jLU6zkPeHLi2tZv9ZRu0a6A2ZomEASbjtwMCxsQA9CxUbdqXQi0XeQd4ZZN8Oof/Wh81Z3ypzj7NftbY8E+jbcx1PZqE4Uy/RKlDXlnD3DF72l/KzKcdqHvyI3e72X0mYgGhekSW80bqkfICsPdCfjA/5j8qBHBupRfo5fGK5fGSv9CkWDz7T9lrJ34NgukKNipK0GALsJVwXIRxcR4I/mfDOoXEbfcql2+4XOnM7vGLmbCjE+axqCiZzqjTgb9kLSYPVy4an4S6Gr0cVn/93zvTKtE1AMTzDGXDBD+5YUO0eN3sr33WJTZjPRDuREB1nCsZediF6tDukFhwP7ze5F9eSkcMHP1XnqC/dmOnxmwG2NirmuU/9JQpzvTLbh9Bf3Yvlx4aQ8IWt2/uDqju7iJJLDOuxkiZiNMU3QxelfDRvWxhJvSwCDTxZiYyrv4ZUNKzxnqC0nIqqAVlvnudMLXjZRWQf5D9hGnAsNCkRwlfamMaZxbLSfr0/r5C9NdBE08pfQRwbBCqkDDN64ktcMiL4svMaYpREu8RHUkyqiOhYj28LFWxipPWCnSmzg4z+PXq7oa9w/ODGv56bWixt13TZHH81EjloNk4oFbvBQhFxSWMrqSBz0vBxOMq9djfcitJgyh/wQf8Whc9HUdB71oem0W9MQRinhoHmm9kaDxL0HuY5L5/H/Q+ecfiQMzLFuzKr1UgPc49dbv4HIPHbhuPu2r8qsjOK71MD9HJtEGpsutkJQDdeg+qwBy8jTKR3AtAWqNwHHyCN1In9RMyXCqdVJG1HgWMcp7pM283e03lavd1qD9MYjqX/T+JsmQRyGvs+NVUMoA/5rh4z1fEgeaVV6BgA86k3Th3cMy3h4/QL61/Q6GdMalxRK9Eh895oUyKZMp2yMmjKnw11Zm+gk2dyB2ulQB6ftWK6Faefv4Q1z8qeq9vr5DGswXF2Cc7mznPHkPFpD+4eOmndkRTG4yu8oab9sgYRS5SYeBe7OZawqieLpPVAajW2G0B/+K6NoUUha4nix2qMfhruwc9l8Kpyp803Ed9exzNnt06unjEjTuGmBNTOr3rwHqAnNENj6b1LuWhmDFiV8fTxMkRgLe6sbqtiuZ5PRT4jnsSXxsMVlSGeVJy+r30ovw/11jgKAbg+DRSoMQVHri7dBgNtmeZxfaet3MPZ5xSC8RnC66uJeuXnknGnF2SY81Rhbazph669Dt232MroRXXhIXw07FCJ9qXK0nV82TIA16c42MFYZdtNBk8iwBdUJidK/WC5811B65JEeJ8rBm34cnc/jFqi2vpcognmXgD3fZCLiIM20E34+D1HpJmoM5yip+ae3Q5k3TbM/24Jc5O70UHPZ/uEc8HcSk1F66jo0Pq0ECFyOrJEU5O0zSDseIEUGZSLDzM5O/tSURlFztW8xhMyK6O/0Hu52xERukutX9gINnlJcp1nOLx3h9lqWXlO24K6XwaQmRev1xb4hfKIVLxpjf6d1L8u3w8pGLXESa06xiFMsN0iLQOuXLkSyK26QdRWoA4GUqKcaewknKof4iutqryJLtws8Rzc3oTuhFlRu7dSYNg0aKlMehBJT5j8yv+qRqifrMbXKwqZoSkXyZP+8aFk8+PXxuZ9M1rYzLB6lB1Zl7qaQMCN+t4hMedU3BrtknmiOVPZq2qz1pr6FQk9Bee/YAwMEGEu41/UdcHTZYipzGnzaPYCuL9rySP2q/98l2HEsUiCOwurhRopavu9VV+xJrd0Eo5CzCwpSAs0lYBfQQv9hOmzfJZ/AyySLmj8vdfdSdRpI8SVaiqZClg3eE1KsffkmGkDggwIM2b4kjbBVQP8TgAZtpuhfmyJzvu/Cn+x0SX3KHU8Wel6iIyK1jvETFFp2vkjRQcPKlEN66EA+n4hdTe2IWrTBNxwgqCVgpjJeQ0V8xsDE8eV1qtPxbdavP+HtpOBhdBz2MzHHXkWIgxZKYaQnMe1L4nvyaflmwrQHAcGwNpd8OmxiWw81N9/+Kqy/pg5O7p4DvuhTeQQk+ZdOmUvMz3OD/GizZLpmXTjBF3KrmjVRW03oJwBo7qcFMLyoBtvz6iOHdBx9A23Sw1GczIo0OqyCE9eYt5HNxMJOMmwqPjU8ZNCthDG1f2Y2etWaZ/TdUXTTTpsDX7BQVyyjsHeBcVCybwIc2NUHDLs4qFbH/eBHouXJkmGE/PE4XMyWOAePWD3SnUXTisrujASgJHa1qvr7isaPEKqNaTI1OU91hZ+3iMhZuBWQGRoCrhEQODVpa9gnhcQUVnAEQ4PWOSevga5c+kk+RtR1SfKbzDOUl+Pop84ZBiVQ8Kfd7ybwEe7WAvQase43vAQWiX+iW1l+kkiaO5Tywwt/YNEwbCYNQ5Vhz1bWSQZadODPIBgqFIytmQvWS3wILp2rwLvPqaZ0auZve/sF1c8MDXJR6g80QS1A7qLuBP3nZMOwetVGf/Nsh88UWIw7Qwfc8KvWfcV9x597WYQgeeBlYmFXP5g9PxLQ55TGyLl0atX9cCxs1lUBFmEse7wb6OXtvcCUe0/Cob75+/DzsRWmDt7u9f0JSyBAnA/7+6JYMz9eQdluka0sSSGiu7kbEqnvGsq4uxfjDnYBwn8W/Rw/ozkO1reyP8Wl8RW/tL4z08paG97xCEqx3KnXc3bNxHvuSz2rsSzDo9NuQWwlLuk6B2byhy6/D8eA6TOQVzm9+FUMugTdrcZEvSHdzwfv/P4bLKNcULelheTtXBAcH/EmwhRMgSni7dv9i7hkDyUdCqirX3lym+4U8zLSIulruBtJSiBkCHakluW2qXbQm7MWrHikMfq7106pFVxDbN9i+/IQh1q8ZkQhQtEUaz5RV3w0xOJ0Qw1MDKoAy1JWvDUp6gDWYYxfkikPoknTRlNq/0zMszAcexjGl9AuJLJS0JaIL5auW9i31J3j0yrbS3KA0QGxSBJ7fk/lIPe+jDLqYVla0v+fz63kvz4bKmPt+gN6AyTGimnof4mjsATme/MeP8S0+mSVCWPvJVI0RALIkGAsQ+Mdcqa9gORtTF4ANjjlcfQHxbw06pbY52fbZeNmGAA2wZGnlXr9CoAm7IfpUW6chjIBTqPSj1bwk9FjlVu63MNSlAAmeYKNIXHwwVylZLcglqRvln28TZyNcYeOdXzlT33UiMgy+zI0UaIrXqyXhMQ/T2PyjFitVtxZ87r13dNYbPx1YWX49yv6FZitxaBV2gNNilX9YzgjSxgzCZwDBNAlj5fs6QY22+mRuRQv4Lp7bgUes/3Ga6Mvmvv9UjQHRK+xPrAfqli+YpRlNUTtvYGVmQIgu5BRuj+WKjpXnRqg7khR00eOWTOIN1WJ9iMPXa0MDRAXcZbH617e81gNDpGyBWRPHkAwjh/APaVw0uwXmQWpl94R+ajgIVX9AQGaoRcDznBdYTM86LxZN9HFEvxQLCR243Lpp2V/+nCULdx72GiqI/roTHzIyLgPzjRRyjgrpeflfDojG6CcrHHcSfUHwevAPrafgReRKOIvh1SreKYpeBjAR0uCCXcqM2HEa8sHD++55mOxvS8gn7UxOu2o9x1/mJ+bFN9/Wq0q0yjRfoB2+Jdll17/m+17KJhYwz82qHiOmAYojM86s1TBpL/bGvL8ETmfZwGKxzHk6OE1i7xYcf7+LKhBZ9KW6uWQTp8N+lIm+OACTHbJpJLgOk3Ni8tojIo3ogf/gFpgoBGQ9fk1f/atwMbcqLdeEiszJsfDs6NromApDGwwOJ7nQx0AhHbAqxurdFSf4UFzhg+PgL4pH/qaXMl4VnaWqbFort2s/+0feX42L3E3NXE5JH6XznHZxhXhrkv3DCSnS1sK2ZOPdksX/KlTpHAbsIZBKyQCfVs2WZ+VjZFDxR3Dz2whiSw/PqICddG+XYxIZ+IjL0tqnUTpUjJRzukw455GkPTyZ3mpbk92tBXcaVIkqLEurj1/IRH1V3k/6XCmLXJCUpCSBLvsp/y3SvE00sBGbkGoUlNn2vYXF2L8FOn2mF2lyiJIxOi4jZ5braAp284RfSLIt65QOQZkM9LJy4McnPT1RYIY5aPsxOoXtkCdxjJjCYQFyaMI0wWLq+msqUre+nwb0IaiHkPNDTBMKDI+6W3G6aPmLeK2v6xPg5asOdziiUsofULq+nLDSl1IXRIxjklq3RORgCr8eTn442NrkaQMhHzw3gxPCIg2xyFYiQDPRrdZZZoSRtWWRF/YezxQJ1D/0teUdwj+IyTV/zn8KJgAZhV6AqCX7q7VaQQWh+ygFrzqhP3wgAL97TnpKxTaG9fV21eXnGSai4iNAeYDVZPT5uu9fDKEH+ivW4esMRr9OnuiwVM7NWrFHgUk7TFz1XRWl1uZTu4h4zWNC52WaMnZfmILqfjyOSofF/qpGqJydau/f78vlEQUZlPo7DF0+hAcYyQfBJ+jh5OsC0jFTo/+78HIjlv4xcWtRxy8imEbOoIEEtl6NHodqi8ggOldKJDBTSOuB9lQnbiKxB7cg+mR/eesZ8jqJQVtidBzVh405nyRzk9/f+Rk96AIFAQ/0zXSPLKaev/9X9Y0lQeOUqSFDwxbjlYGWio7gorwTztIQ6W1BH0C/AuE5UwrKsmhlVlRU644mzFTt3dIAb3dbMe0PBki9SzHcQN/15rP+198DueMyup3NfktqY7TXniWl7cRKPpxhWSQtjqVyBxMvZsbW0p/CGy8z3M2frf8jdie9uRGu6bg35hhFl6vqot06iNAWdrZSlCRSMrBSlDm5DuuWPGBBSZtIoG2u5lcjAMXH8R4asgYIi2L8XSGZ1LutpjO5k1bUevyJ/BUpzeeaBPSbgVJgxnTR2cJCeCQ923dpg6jcau2Q0PG6zo1SvymkoK/qKEZeOm1cDUiGrVRjMJQWXTgiuurK2eo5Kdb7pxKU/uFB96CbBosA3msApk3GDSLbSXqVhbinx1onMAkiOJi3iuscsyWjSkDsUf+Q28VtVAXvvve5vyZizN1K8a2hvhu4uOosop++89oyH7drl+0Iaitb1qbVMbITXmxaDAmB0QxzLGaHkF19DWb8q+mR/bukqqlkbtfoHTX6wQAIqhW3gNGdUKSVGwiWKYoNi1n9AoMX0SZiuDepRvx3u4DdoTQWlL2GbSYftNXesiZsoMmgCu6jGMxljFL+o3lLdJumxepqeuRUVpRmERYJkZEBCgM933bfWogveCz6B/U6XWggOCbGKvFGzTFSKei7uH63j7jJwim/La/3VNGc1eBtRvZfMj5qEVYS/GMYVApcFIxiTLOHd9Ay2In7y/8sxtwYq7vdOO8k+IladGzyDnit/msxNGpWqJVforMqiXiSbg5ZTRxoYvwNy3kpZiZfRbbtrDTR4UfSsrm7371yvIPrLWvB9BqUqe4IdIViuoI5Sryun0DkxQElR2TMgbPpc5zZZNkXnriiZgJnFI30wKHNbpyjfi/KjwiChHymHEtIjNsHcvz/YeOhNd2XIeHKsyygvhntTeNjnQxkBuRKRrjrnShqvPLp6rKsQyqqhj8RC3u8iQzrYWMTuuvl+224GYY8N5mBLaYsD0Cv7GZO0hPIgt4QVm4azc8M1usG5TErf375zVc7Aucm2wMZ0zukYe+cIZM5x3aF77XRz2JyjOlwnlt+uGU5cuqaYN0pDkHAemixSYcO71wGBrLMu3Fzo6IM7+ycmjjsFI2c7IVrW0mvyCGtzw0UHWHIM20uIucxVAPK+XaTGCyfE/OcGQ6nQ+fymADDNESmwiEtlcPg2kcvZqwPN1cvl7NSBJ2+jx8jyhF/YSk+IyUZejegx/PJHmcAuizEMR3ajWWwHrNiOBQcWcrWySBnrTklYR7ci5Mn2zlOj5to7v4tKXn2sHKJemSCOs7iImix52hGUhAGjpAU5G6mfIU4gfUiDD90qC6ehk4gXEwe9jYglU2Kts6YNEUIhDxARP2Fg11hYJJ9ZxVI8SQIj2TaYfw3Fk2221v7tURTvJRwjl3iyEkHfxNY/g8o9hF3vtQhYXKTTXt1lLm14fS5XEnCLWVGXPWgrWvfqwud0gtzgAj8WDpRqEXCv0bLYWhbTuNIyD0l53FO2h4DrWxqfghL7KHgO/OhmHfuQtym07CDP0NSvcGZZPPk675LPUxw+PWZQe613o66ku2K9jlcrIsDvR9uyJcv5LT2cCkXnNQeMGyESln/ZH9Nnh07ZiK2DBS5sn4mwRRgf/wF4NDA6lmlC0I9B1ZU1URwFsDCl5tOcjZ1JryAlfHyEZepxCgd7z4K85lDRcu6z1YB2u3nHMKlc+sgNOR1+Zk0ylNfn/SUuCNz1+qPPth8P7valSE+/Fxdc9xnGx26V+atfpC1z+F9b0/aNhmh0oeHWkqIdTQD2ZJ/nvPeF1DcVeMZoOFQjtaGzjW3RWo1Fvdf11CgNUBWBSMFo1aDLWTmeLFg+HQneUtnOA3D6ord9J435hlWhYifcgvSY/e3gZCGbhA4ua9Fxfe7mE4utxOshJMxqlbj/HdWMg6+h1muBhvhOpLi8zYGBxQrYZ2l7pNA1m7axbLlrWxn14SotK1rbAiax3ayzsJ7UcBt7YWsOIBK89nna44S8vJPyPaF9XY7reQb2W9/9k0RDIMVSqJ4ZXoqBlg0klmk0ggy4K3HUOWPJUXYzd8hrx/qgvAuHSkO+NJhgBPnTx9bLArpth1/5nxveitsmdZ6bkPne5/YhUswK4y74pKRmaEqGGm7yxFkdbEcat4/6ZEXcUS28IT25HkL8hf4v5K3bNpZeE5yJnlBlTvL+wBaVbUNM9JKLQvPyKDmwfgsuX+YIMU/gu0gnRVwBzzo4i9Y9B2JD+q1fSgxVSMrZbeIZqnS3iK8IK75dGAObdVFM+le8xvThNzF4WUoAQ97688GmpEcsvMgTgdaifxQ+fiqEhENJRkzvxE58SFD+Rb/Gx1YmzkskgJGyHjc6x3vtlO0HYaSkc4WmkibteEKT8zinn0RN8J49ozNf0HbQy6mEKjck5S71bRBAY8CVfqOK2UfyCqOujS4U6yhFdEkpivcni+sT9uvtoUpiGpXwpSqZpf5/OznpRYiqhgoMJ2IuaC82WpjruOHwMb579K+r6Gm/quuZs2RzD+TjRoUCPc6EcBhEg71HZ7ZoHN3RPor6bReWL6HtdAhZq908O9gF1NlM0aZCN178MeyGqZzHJQheAfi4DEdf9euyCKpUA6YmX0UlXdSbU7Jiz4Eixo8bqcmggqOTfF614XN6H1WqVpdY/i3IVbmTQLdHQHl2lOmDXqw0X/CREFGlOpBehgmDdSSfcYV5HLdPwHFG2m3m+ISv48tk/E7pcVaEN+78VFgS0gdT8epD+zg15VPRBF9PTzI5RzayNmuq5eDO76N+uXgE7kqmeNBzqv0WWsxhBIJm1FOyGWVkkecIAn4luqUd0UbHRTM8kKsfMqtj/P0pWe89yMbL7S+bCcVGfoY9ZXE7skc+5WqTIGI/JivumUKlXrtsHxPoZ1bG008ufT5jmKpZDgPd5Xu9xv4z5JsOFwq3VuexcWxXqrsHNitVyhB1qeUO7h5dclAugpBXWLWu/Y8wtnmqAhcX/UUDVT65TPAZMNVQyzvwb4svVj/o7Cjuyliz8ZxtyNdleUDKvUZJGAYsjDLb09lLvFs+U8tS4Nr790kTur7O7xExX+smJb8THmKzFzPotI2p17+Yihyxfvrd/Jl5sC+riRZemqqDmCnwagUsmivBAGsYYDosRJNQ7Vg8LlK29oy8lk+hLGORKTyeWUJIBcbqJyNLACErZ0GNab7yHrLkpaYXKO8HDEJiqrLRFJdyD2aWvMi/yaiavh3faCXAZoeQ6LJ4pAlU0zCbqylFnv9DXk7DndlfMHXzSKBIZdsjTYwxFd31sshSGOuo1vAa8pyqVMjxEBVn4uMgQ66s8449RDtqY9loClrbnSmD0AnZZin/2epPvT6hWM+jlEsRR+HwOVCDG3si5V5vM+48LFod1RocVIazJv8mOrJo4V9Z8l26GCubz5IAYbEkOmrhTvOfbXhZScju1hKZXq/5Jt+7qUeWsD2LFEPH+gnEeXVgKlfcLAYp1IBicjjpH2xc+vnaQFjAtpc69yZsW0HEw4/0YyEIbf+wZmLeISqIQ+k66sD9QGwBWmtx8b70XCYu2ao0cDxan5DOzGIpKUzvQ/g6CnJ0/LI/6YTr68OqcMR6oD5DqwhZ62or1K+gD8zC3zK7Im4CKn5PgyGCsh8uD1Y6ZsnnUt59yLxaDttbtrbJYz7dg9WnWyhQ5meHwoBoC3TbGTogd9xuAvLOT9IZwNkCaUwyTsS+8twsylZ1PmkuQGcpxh+FNnD4m2JHaxP3Uq6JchNXwy3bwu2Yx7fmzpBM9GaX+fvdvAeUMZ4jAFs3vfqCsM1r2PGYPvAEOYopKCc3NX0wBF+L+ox1Vz1B+wwyia7OxVlysma2HsaUqQn1NvZiTVIF3JHlXYBeXoU9lAEGPLTTT+p/D6aXwXgq5zhD4uliD8+eEywb2za3l86F3BFeSSPpL6eogi4MrszT7Yx5FkKxgSwf8vhiTMS1E3RT8mGfMYP71OvYVcw3BPdqIwu7JzqzjRRMe2w51JFR6S0kf9Lu61jvvtGQ7OcBkTRQ0Uu9M3lGDETqhMsAa9FMba91SIqw2a7rZ9bXf6VtWwastPcS48iLDCwgn3oscSdshcBmViOljxwv/KpsbDGuKZ/fTFA4F5AneDD6FXi4EuRczqk0BmG2kwMwIDxMrl5snbo4EtH5CSgx/mbQD91u+H8rHxeycyU9An79RSjgCqQKM8vWkZZ84RTBGbU8MjOs0/ms4X99zUHJEz6k1hJF/A67+HR7WG1QPIe7a8ZVNSZCSqrz0nGwDIL2FmM3WAX+m6G5FJ1w3YW7Y5NUK4P5AkxdxJun9KxS/QfxD4Irtt5EUcMlgSLnsBju/Tje0briweq9oGzF+qUbWjCq2BnOsh197Jk3P1CoKk0enNOI5DM1FPCMB870bS9DtzwBIvWUfGgVFd2/UPLqZ9MNS7ElfTedjE11LDmq7nNsJ3YjihmzAfhLPU+MhGy1J6Y/GfwLDzDW7t7nJl21u5qckdxRLx4cUns4PXM71EE1/vOcnnIH3BzxNHF7DiVsQpC82a/rZamVtDhPQSHvE66GZFwcNj4IVg01a8m2Bxvace1ML4ptyrVRVLLkGIPbFWDnQV/kEt8q7UU/90P3RN7Z2ZPAT1+W7LDlfBk0RWJB8aoDoUw7SQSdEmeM8eOZDlX6gjNtEseD4iof32a0m+eK5RN9G7MaRTRiHogxAEgGHoR9Cinf9rZxBYF28I/l8pXu0lzT0fI7nf3vLp4R29DRS4bGGRItruhHbevSCFD4fFRQG+pJOcVsxdAgNO3113zz8x4nLMBFg6nKFZICvAVFs5UZSQjPmOH3MafKSXkHwe9Tt7exqgIZspfOp6evqy6p3N8mc5yVt+LLsqjNEgUBij1OstS87ZlNldLR2d9UWUDroTFGgQrQueNtWs3WZyxt5J0TFMzjlG5jrNfWJAdr5wv5RAfaEh86poygY62Pso+V3km7pUBAGWcs1UAhopcaRFycU3jTmO36PRXVFtUnu+Ml0KACL8pCEV/6/bYYVqONbrZZDOcSwNnjNdp0WpenSgXB8kBaNK54Ud8RxQZnxgC/by8rI3mHLmiEGQX9jt62DkJSyd3PtFBgAyph4rxdqJyvXFnBQ0XEarAxLrMPOLyh5SS5QGvT8cItXtT0zWyaQMBvS8AIm9ttuJzXzgS8S5/biTfaZOjQj/epf6KBCIuKEj2HaYa7EicFZ3IGg2syDPUb8xmsA8WW1ie0ezMEXgiR+z5X5VUIdxB3tTWU3tSZk0fJ6q1B1znRwr19xP12PRD7NKksEiHiAi9z3fAMivRAvnSoO8wxZyTGBkU7OyQYR1JgM+QmMNtxuOJeHmck/h5ncrL+eNjShs/THjMhL73Htgn3bErXA9QMWzTMkbU+MJPHWHVig4I/dzxeE7zn1bSz87Nhbw0w1G//FCa6k8Dmz6dNUbNNs6L3pV2tDhAgZEMb4fFeCeSLbgMDuR4dTwis0wCE+mv7WiEFFrPIRIQnmQbSxm4LIzZ+4/G+U2OiEGhSGbtH7toWfDzvY5IdGa9hZidWyPr7irqgxSQ4JdOFynnr2vxo2cy77/naJk2wW4M0OZvaSlN98p2e6VhRhdbnDpOPLEfCmWOTvcuZk9FdyzDYlPDIl9aYkqPEoCcbrPg4OoOC2CJ1M9sC353PAq/PfaqE2Izj76o19+6QJXJItoJ1CRgMa1itr2Z7zuywzEjcHusWpTC1+1ti7tYYCTCBktE7a0GtTebBH8JdbGtkaydmRLeQ8hZFoD73Te1B1fTDUL1bT8pk/EU9D0WIMtXK/ucd7e/0XllzoICQ9TQxB9Z90uW4F02aXw3DVD68teNWwC3cheBIh0MCIrSKogtdoSPcKZlu3cMB1fsDSfVF9FlCmg5tj7cEbvzShzy4CMCv9hPOX9cfOiQGB1SKMD3VqLXXedCKp5C89uDgNokvMLWdE21qhgf1/7a/HEQf0urGvYZFnRj9pBtlxgPG4kDeTPyFbtmuGDHuVOAZ9agi/Ab0ZjiHjr1oB3awcJC0Gm3bUGSZxbPui59ZTmlDFX2iqvf4Wy86SZH9dCpRlVCLO+/G7UNNvXSTjOHMxLrRe+pz4Bej0tb80uxqs0qz8x2/meSBbh7Zx6WkJpmisqFS4UAjLXTSd2hyTlqDxd8rk2hGbpP+ZcP0SKw6QlpKD39kqL2z1NLaMb6vM5ncMJ7aBPQMTToymgzszqA/mgOUOzOdHDoEO7nQhvk6ZpC4gRpWEn99TXnaZb2LBqIcVcZtQoibSS7rCAOT3vNlbeLlUw1huX7ZFnVbFhoMN/V2qrhn0Tn9Ze55rPJIJJBV4NwC72KXabc4/NJ/MPuoeZMqbMEwI2xNaiQXj7PBVo1h1+1sMcfrr4gZhtub/7p8gxKj/tPpIqWNVN2iH0BhOvMYjlgNbfrkWH7MIiHBlhhASXRAeM1MuCuXBKkNwKouzjlMQDjc+c55GTkkQFj/62gCY7Tpek4JLjbRAFbve7ta6IuFylR5hEm34U+HMhWQxZZpIfQxsZqCO+fyb322Jrdx8W/Vv2gvttrRTa4x0mNBceHvy2Hi5vPU7qxjtAPOP25XIcIZZGSYNctM4//FZ7p/QY5h5M07aGj5tnZycI7l/xMvcyMTsx1zOKj0voBTTc2ZwiO1VA1muw0EbfbPlFWbkVwQab9501ZFOvLLmUn2Oled7Sukys/QfRFISHuU4Aps47fct9gBOxKSv36QuBTRiPWmCBShgSbcP7W2mf4dvpQ39l1ELRI2LB22Dr3s1oD2L0GFD3cTForZNc+rLhomP8XEw0Cv0xdASzdji+TXXsG9qsiM7HHbFbvczuwhu1059nnkigfN+LJ5MBWZMd6y09QCR9FKRNACwZnP+zRdgCa+28ywFqfjLWHlrhxnvYQ1RRggqVz82tlI5zQbOoOSdeDxxyK25ItkgMBsPyZpTOUpLPO0DUP5hueSvbrwcmiB4eHC9ND0qoePMAUdvsvya5uAj8K47gVSnlBVNaRiR9avKilFk9RESQg9fIisBwZICKTBa9SnqFIHZsgq/nk6p/tDnUbL6bhrUTdq+T/HgbqlTSfGCK92F2z1vBaHi0zqttWBWBv6wfeTBqnNAMITQ5GE7MGPRwI/an4YIDhAXiB2+LJKHQid4gr/6JINCiIQ6r8Igyq2F//H0thOkTk/Y9w4CIxVp0HPy2T2G7t48dhABcCfhqrZ+WVvdbGVRLGar4WMr76/pwL9JCaPP2BbsYv58+QBHe+SP/eTm1kkHr+wzBg3XMamlz1x+X5VeL6zgS9KMeDsy2/uQqTfeey5v8tIkM0OAlZPjMpm48PQ9cipyJr0I0nfXJdPwikSOtWWA5UqqEw8ts0oO4a2KU7xRSj4Jba5uQ2Q7SfdYcruED941E5cBLcmWdAoBkmQfqzeV9t6mSd2miFL2nAqfu4SSEczffeluS6J9wqqYKAygd11vQqfGTDszHLKqLAT2wwgbW0w0YhZ9DfRWCmPJHl634ucizNkiREtGUd1ZB076b1yyQvfUW6LzuShUL523FwprXVJWnphoVsfRdoxgb6DGMQp2n63gn+LxsYVPNDpDqj5xl4g305G0XFKlTxv7xypBWvSrAETAKjJhq2wqvyqkLRwU/9IA9Da4eckOeR62tpMQNtNM2VpA080B8U/yOkEGWZ4kKgwiZHe3/z3aKLddTIZ5VxhS8ECXC5kqcrBgY0HF+mMR+8wCF31ZuDr1VxbZKRxFKrdbbDeFWV7A2SJq5o34e+q//nt9a1XBlyJQvl1O6uoRKZHKE331Ug4Tc2D71tn3T5p5LNHqpzsyt3lpoCY+MqvRSSIRZmMKbhJ3X6ux3AQlqpZNr5CxHYUIC/kyXslrZW82VbJ9/Wsvc2bl75OSZyWqtAE4gpt7t94/9JFNDGmaW9OCG3DdqhoDInwOpI8AO020wsS1De9EVFh3FQ9QTW36HYxaNTU79aN08ngIXxAO80t9TcD+vYuxxjRl3sN9dkRNk/xIhfMVLicJgJhFT0fhkt9vbEln6Hegeh1JAwyY+6cmd3EgXtuTfeL9CKnb4uR6LlRycVzUaful17is/cwfRtuiC15GumKBDLz3ILBRwzbA2HoKZAA1svYLPs+FyBCDQ1rE6fJGvqEmShIqYoIPPnIbvt7lRzEMpJSeQrfTTPe7BEGg6Kvoia1ntOI+0vtf7+h+YbEsHB0zKStPgQAT12ZnRQj1EEBLw3NSXYNMoNAsthZ0TS+xlSTV0Wa4EYb8OQdXYBtY+/c+wutFv8eWZEwDTflY7FeW6slbTvSuxkx73rs7rCVTEcMwDSx85oWXRvgM81bcGU6XYUvDR+epiR8Wjp2gq6ydNG1KYZBUqkhrS8Ec8XhP1ZnJWkGveqkIQbAhFx4+TvCLWyiyh+S0nDg3CtSITuA4gfIjBlF4IsGPcJ/qqUB+/vSoBHz0t9SoabNnIa9wIhlbSG4L+hIDEAem1PMPYk3SEeoswdRlOCtDDB5TsqTxDtBg0j+IASGOVsvomXdJWE+vbxAD1ioElCGNvLLWUDa7ziEPspCvPWezp9CPHc/okAYX+4xFJ7GuNf4FlaJuyPaXh89Pdg+3aB+6k1BnwXl/ZTmsrKhvwuEE00kDZUA8wKqJmmeE3TFVSUg42ipoo8KAMJbmN3+Ab0R9e+OzjvvFfbI2p9D3ocHqd6T11lInagpL3ZO0R5GBIkkxs6Ce/zGr61cqsAI5RivKsVCBVMHFMmMY+rfCqXTI0bNqUWejF2uKzkDmZEZGz1xvzf9gqeqnHnC0JgXxrfa6E0qgfrCCoOWS5+3LNMICg9eOmGT8kzYqgTaE/W1+ne5iTa0XF9BHcEhxYKAxAnzNkXh7YgUYGo68Ymn2W4q3/jkn1BAjG16fdsccdG6uetfTP8o8vWzPyca8mGWs5BprTtp8XcJWCYqqsXh1YnLBLRxytg+9I6czc2hQbppqUM8PvAlanpz4wm2sPv6NFbdLEaQD4HwBFauJoiM5SllyGG8lRpd8syk89jYsC4e9R7eugqT3SDjNAOoMmS/3A4ryUNrc7zYYhBtaPrFvBnphn4rWUVd73C5Cklcz4WG1qf1d/ZpFHOl6+NyR/rDqirUQ3ysmzqAcpepvqgVb8LKqvlmi6cyz79b41fsWWshDZpyjThn0wGMLv1rX74ReiXwiTkqKcdxh5RWtA7/xUkvisduxPy9lq867GXtiCeIbUZaZzgFnwAZlwGq4zyv/2pylKtEEZrPASB7EZ54sRT7ASECV93m9fWoDutduvbTvXvPQYyo8d8HA3a6jP5PhzeE7OA08e6EkfIOdP9ughPa9HCoZz+ebLeVzjYfoI56BX3ChwrwS/xpX/3HTL4XGd3Y96J1sC/eAU/7d6ZGW3GxCfGmje9tnJVrQn/6W3iTkL2rQFGuHYEJIUd7Qk+HCifMww6vvlruyZXEMPvSaEGsV4U+j8KtSYhuzF9Qf/jVho+n+EtB0GjEf/d1ijXqt6v+nFHnxbWZnwNSQndNrnm8tv4wZpB52jrTDbMyIwebdhx99c59MVBh8WQLIrDfTBuibFEhXXYEAdbJBv2ebpaxXWiN1HsFbGcPaxg1fgME/oa3PowK8siIwUhjgzNx45KklxTH/1PVrvuKlzmPSgQm1S+mTjbR1PvxSgl2o30Bncy5Gl4+eWoru2FutMyyAqpWtL+mhwc7dk6gSsKmADwzAmKC8tem/aVaPSP80g2vWSiGnjYsfG9nCwSECYADcGGHaTePOGeP51xdGoH1yZeXRv9PNFV6pIk8S2Ufp0PZWjJyUI36gCF3Fks3EvN9MFZVytkDs6Oi1p4Eg54KuhOI1mU7wpl3sNpfYFD0m+CGtRFRl0HcBgoIA+H0yJ2AOyehYM+wAVLWI0bSuSZxO8oWJBGkoCz52XjBY+eMd27I0npM2VaRMEPBpoRi9LHTAm/JwU2KqKFrKbWkohxIR5Q137B4ga07e4/5tKXo29R53j4YvJGqj4Kj/xnmus3o1sL7FWHw9KZvDik38T7L3+kQFw9TyN2Y2VbHP7Pl+yb2AM3vGuycTkEvtyw5bwr9oX+gsohUG9f8J5neHd3gjgslNajlzllxjWsv2hRKqhFOfQhENksJ+ygcEaJGFFoStlzU0AHB+VI0vhb+s3Mm7PfEmWEY/uPFbLkAJpqTcxL3B9bAZBIrusewz+JPqUObvsq6BQKGwc2FM8pRO/kg4MRpkI01wT5o5qFB4WxfqeUskuzq8Ng0Hdo4+6CEWbPCA17MAlDPRO5ZSRMTsS1jYZo9OuGA/0hIvJJPYTlGxiXs62tJh4/7SzkvRK3N075EUjNfBzuGPIBAY17Q+o6PjOXOW9s344ZFlyYkuoPpq2as1nyQxnMdMTEP1Nsg/C4VDQiKwIAe4GLCvsq8UnpqR5vLjPu6qSe8BGv7UMA5U7xYRhYi1miTOfLNKCcurYKA4SZFVL5LK326OQ0/GMtzBDutxET3xJULNBCvb3cOQfwbgirVQw74KMSs30x98VoSkCK+g2pdF7TvGiQ9jVcShgHGf9xfdPM7MmFjPccHlkOBSoqlF7uzXJn8NvUV5ss6Nb1pUiu8r5GXBUYUFfBwqgGNV6EiDuLCKjvQT4Mg2tJR9aPcQGXV3Xkpdr/EhhbkW3W+0hhdF5I6p3lK5VW8boiRiVqrMAudQ9Kl6ANyK+XG0TiQ2x7jxe0RBIoTfkVjmdmvDESha2kFIsFkgbsmNwUyz4dM3rkX+w7J3dc9S4sL3sVyfoK5fB04R1C/0JtKVjtf2Jztd38s5IeVNPrahSXBm1Nv6I/IbzfiQa72qeKoFMCPNBkbG6lvuccsimWzq5R/cK21IDLJXu2uP/3TBP8ZegchBxdPzRei6UN2byGCylZaUBU4EldvjeHBhDJ7Cxg6nNkek8clYlOJp8lEPHd0T1DyLoozQdPRssYX32hOqJlonRts6yh45rcKi3KNhxMb6q0ZazoDbSLePvLCRMkY8BONk49xtA5722jtCYm1/Di+75+eZRD3nXeOirxfa08256dhwJuiGFVsgPJP71mo0TI9Yo4W2cT5+MjpSfFW7Rbw/TepKefpjDuRjpRsNGSSJzuGkcitLSzt/UJxrNInHIJU7h2iNRbsD2/2d8anAz527Bs9URz8UkNn/A2hI7WJO8xWP2Tq8C5UQnju3x8ydfplYVye/YP+9c4LnMW/StMku8T4Q+lpu+m4CHvjM4NJMRAGdmJqOBmEUcD65SrDDcU1wPCxwOfLCzh5RQFdLwXaaO7SQ8rqkrBeArQZSVsGNI0/IhgUTr70CQ4TZUZ2IRuIQWOLuxuEGSKfAeStDCyhbE0/T0FFr2DCFWhNdQD1cDX/WyHGqjxUTa4YR7nFO2xyxFHk+h1qQkZwmlrOdIVn469Yw6ZvlfRHxqLh5wPbRIDmOKx9dOosCKTlf23LFiqun6A4CEMm2YfeSQeyaeX+ypRDe4R1Z6+cHox5GwKE2L4AgXwLje/AY0/H6VlbRtZeDnMheXTv/9QjtrHgpPfTEz52mS6+0q7GugYYEGqxf619keVkgP7B3xrQLiU0zQjL5LWHHPSjAAp161O0bQ7NXggT14ufLnxvu7bn7CzCqBCEYvsygFHhs2QPd5b2Yo35Vh3VQQB2KHb2EX8YzT0iNSdZ3yxJ1H14709gbC5krciH+PnOJP5TNyY/U2n5wjYFGuVtGOb76/NK83mYZnMnuznX86faRwwh6K7/8tYKeTpyq6sKb4D5swuyqVx3h5mZdFSi+enKw+cjyfHKzbVZYPWcdr27PV5kGrekY9xlRJO7OX5HR8y+9q+y7XujL0Pcu0iZY6zomv6G/eYPm3fweObMrRIdmVDQOFCOoT/U64PLQ5IaDgO/c8eHH4niS9nENWGdnqiERpLC4CnZfyFCIqygoagX1DYQKHdBUvdGBOlg1tpeLjUQwO622WeDGnbDn/QD4wJ7CXW2Q+jk/wga3Nd0hXxjID/DDr+0MP/NUleQV/yaM0P5K2L9nf1+IkUYPPmsktBue/0dOxdGXizZN1AuZZMporavYcN0uJF+nqoNhJYrGpt7eMtJ/kHhZxlPWb1hwMfMqMbH6Kswf2Zp+WGMcAxfeEMSh7hIAZDX/m92CSCMj+Xwq/0Wd5QGIbPMUvCTLqpLxEcPnW9+UW/e5zR0TdTKK5cxU9geYxwNS6i3HBkxYq2IpSYrP9CMdlKwjmK669VmJyhFNCqtVgLMjoFXoW99fbARoXfMsxQ9gxOK99L92uMzbePfJaj9atmvoZ1S91QOCZb/OFXFT+fofWQxiC2va6A+aKvIUFW3oJGa1RshF01zI66BvpGG2niyFgA+325K73ktN0iMofxHLQ87lEMkJLjWkB7KQdzbq6N+KztVkPv7vXEsgXnbEcT1XcX1YfMso4ROQVbnDSMnpoU1Z99puC0NuTQcR8yZ7ke0WSnUUXIruREPMLq9Wx17P8x5JCvPiZao653gHF71Gqnl8had4S29WOVa/1fX3S7cqhyYG9XPw3rX8bKSgP48FNmSoUIueOelpvM4f47J9jaYiFTHR055jMho9EoSk+XzvCSM+sOEkbH4ZWwVwNPZNdLLsFb6STx2T5SEw39ny1iYUVAp2uOytHve4WKyBJ1vGzwUkvAxjgGWOTcabAGEnYZWmsM087hqOIkSYoWHbrbBZfD8xLj9zyYIynNeBFKj583OjlhWzw6F9X66m2w7F9wyvyf3UfjQXG7y8q4I3rHCIIygMmc7yVdGWjAail3x0FWO9J3xdpKWdC3AKPHkLNYFFnWph6rHvMRmbTXhQmhfYVWlDLqokiMlXAcD9q6Y9LJAhF1BXt6sakD1Q/iS0y+gOYZhpMdvi1xGP/2XBhmC9laGtmwMswrf05fLuc+2DszX1CewoHBwFCy+qMyfLSk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xRdLyPBQmwFteRcmjXfmIFbm3W0VzdChVJMhV3mHDqFd3n02aUFWT5uGt0RFu/sjMTyHLU5gIbGEfHz2D6/7SsDoDD9FDda9aiA4RUyXnpOTB4PDnYdt789vE7jWjq7wJ8MuKnv0Df1fjxmZRK1uF+yVafRj5zaM71LJKS7dMYovlRKDHa3e7mMnl6peiBN5UzpjYhZC6lGvmTU0QcUTO3QL6t1mFNNHzOMRqSwkPINcji5+pAUmGYP8Mm9+OFn/FF2REYlE3dALr2leRHArBF+iIF0W3Kl5xmdsKlujW5JtHNe8LL5eKxA75bwApX1FpAcspnLSbw7BNMwcEPh5/HDY3y082guCuc64jtgDyqNDcZVEE7+fJjkk8VsqWwnq2Y8tV/M7M+P+SaLZAn255RsBuEnIbb3Cu3WB7bKvEcuyTY1nh9w2BgLNq/Qyd0i1lku8qEcZtzVlHtDSaQhIK8uG86vSGkrcNaUb1cM4RUXXEQ+wVqFsRRwTYkH6uVDIfSUEjiaBQWdjIdRmlvkUiutvhngJfMBbw2uMJ+haE7uPWpwTHPFQkIZv/2SAXbTajhpLTSbtVNf51vA+xE8QY1BhxLpZSf7TExyOcmp45KWw2qcnrqWga0l0Mfy5e8VBqQzdcaOXf2YBzpxKSMk2u3n+OLZFInUv35+L5iJ3LC1YahWFTBYKcU+TWvvEcYTYuAcEiYmaB+hDOm4q6f7OHkdYRAL1j6mMnuhkYmLUWg2vaviH8izf4PvAqRylxU0uvn2ey+lpaslrfnvCp1l8pGluwFqKyupauOwq7TELpkOUEnDoRtR+yuIjoLRPQR7sdk4DnJ2af94Pgcb7OLT3Ui2BSeR3QK1SkeiU+EpNwnqG7VcWjiyM7jZqJBIqlBAtVpTRPHqzS2MEKuE8nJaYFEJRWA6fwt8aRjV4BUT/j+xQRDQQ7bIM1Xlo8LGPXjiLtKH+bmvyULryPqKmsacWBK3+aSCE53YWpb7DKAxt2lGociWaQY4+4Z+yNLybIz6zSAFcF6hRU22iY1/CHt08Vt/uQgxVks4C/lmpUbQ2QeJL7enBwBwFil7PaTaudwPKHRR913w/GT8axhfkbfWRFzRANBmvy3namKp2CTFmvFVuSNGlDtGG4w6be/jJ3fJt1Op0lKa6n0mFXqydJppSkYVqtErUPq9w3nBAsgV6IhucFvgCjjfXWFtQBTCK+IF+cyYzRVlCkLd5Jcqw334s4DmY/VeQv8CZ28eH4KG66sIhIiuG7uadnYQijc5xBs4jfPk3/mtRINaobwGQBsopZDIb8+fwXKrE7BU3Sj/I9zwO7/ZJ0AslsYyUfxFRfLgUVsxiSnPz9xvAMkhYahbNMdhXYU+KO7T9Rd1hq2Wb2u9x+CPg3G/TRyOXiMo0onluJ7qQLrgldJAPWXop1e8cNbam9dTe0i3m+GpiwIw1cUFIae5srzq1ZCn2HfNRJA+pK1Gp5a48URHqumKS0B8epEZTxBRcUsPr2ybPdWuty/26ukXLRCOoMAa1FaNybc0eM9Ezgij1vuHXzCslVrwpbQM/E41JGxnjfCw6Ma53bUEmZ/IQokveVsZmNdAaZWPr3jPuAp571gYXHWIKSyaf+bzWzKjVmY3zOrJT2c64kOwp3ylIZtdAIaH7Za8sUtqVRZdanujpLJEOv5AoC52T/ohe3lZTBC91z8+8M3WTycn1XT/P8sg55cnymlZxJlBzvZ2y0WTvVZzdiy8IV53aiphf62zTOvTEWKP7CJXhGaloxqpinShjXCnvNiLr+oDsuI6jMc4xMj0ag2VQhk05QfHmvQ6kEY93uheno+rJCrzuIYMWeoXLCjT2ozrr4f5/78OUV3VYgVfiNzEihRsy2mq1qb4RVXS7NeGkafqVspUrHETHPw7VVdeDCFXvu1MWC8ZRf+62h1C1UhBg7U15HkXwvg2+HQHSUisdQZ/x/kB9eDHKlRwx4AV95stQJu87RLFNops5vO2GgRfJOL+jpyb4CnNEzrOK1oH16ayOtcRBOdr7bSaeiR49mhrtKZw5D1VhBY8VF3U+MrkE4w//kUam1Hn48BZPCglm41PmMUwzDifo6G7eTOoNvvqo56yrdmxpVSdlB1LSeAqk2ctX/VTr5hrDlXYVPpf//I9i0NYCWO/wSFI3LpJN13X48ZCmTiEQfIfzI//9j2MyWAM+qaKfUC8Y7FRffnuF+OyFLieS3Q1H2jYRfB+oTMsxrsJl82PaNCddWQgc6Tml3B93EWnjnufO9CMJ/KzaqJuR6Xzy4yEYskU155rvGdo8l6/LZKHmTI36UmCF+5fTHnLF7sqxvJRqx8yb5GxolNVg7ZiVzSeO13t4p8px86O8v2/nfcsjfGRJW750E++dth7/BwjdLEUtbQr/ne4DCZpD2WrRz3RO4SLakgct3iiiWrgZnvFU69eZn08oGOjAgUzDwvjEYiTAChnR3az9WhG3VcM1g3bbq70oucQOcptDh9i6bqM5Cptr4X1VolRYt3dpgJtPCq28qMaaQnBMlQ81R1zeaBw8ZEIwmKAabi9yTGQeM2gOxpV5rADeHTZ8wgXs0SHAstHdx/BDEBFerYWilZpOLA64HwbtlCQm7Htcq+zxTynFkvrT0YnSLkrplZT6hlomEgG3pufYvQAp9IIW+qRfRRlZ/UNGTu6roP7L8LbP0ORW2qfKkfCzAjBIRXZS+520XjQ87GHgG0VpGc7BCVNsCtNjN/4vaK53TVUGxODTZbVuUs1TBg6fxSY8jIKGeuafeC2PZCt7alfzvCtIWmFsxiPrz/hGRPo7S2pE1rObfE56nw3QVFhw4qatsZ80hAKYubWYy7tcye+JQqTN4yQ4gFUCwM2hab3Rp2P8/xxhVXaRh11/Oiqk09i/2J4OlaNQnGsOQa4ihjeX2mrO6h2ACRciQiygjGp40Emuf3Dqzv0eUwAqTiKkJzzRm5DWz/L+/0S0vzO1P6Q+mRIljJQtUi4XBSeXeDm/zJ/BVJgtF7hOmdi9bYqXdSTlzI+XNDE5wQc0EaKplBOcsmZUpjzDEdEMIMOLzG61fKVk8nSJ5HpzocsfL12LGY0tRdrsODgJSaeCcwpsYqCslL5to8yOHpvkEBqiHjPf238fNF32oKcA/xHS/bPDTTfH2VeDruJftObULoS7ZmgOlBgnYxMUJxi0Yalxf7iy4XC3V9zvnOXHLDeqftktQrI/yVlesGbmtUusU56neahdPawJ8ha+2XQOGvt/QRNwLdqEJUpNVnwfJM71QoBEv67EMWp2iUyiMQRB8h0ZblCN1nFWkyYyEPlbEk26FZHE4LTRUd/QRrFXLr0X+nlX5sFI2D4QP0amtyZOnzEW4aPoafzqacO5S96oUOa9TcAGjvwXaMecW9tWUPTNFfQ0JOF8fl0TmMFrxJLaTN6RwBcMhvzVUr9CT2JaMs783AJXW9RXQAXngD4ZAjgRaSCKrnxnqBSk1pO/0irIsEyFYf1MXpTrNUm5am/CwQqoF/C0G8dqw0T+M+rXCDzcrZxUOCsfqq5tvbV0eUgxwg7Pu7tZbHn2yVkOR4G+F32qy51h7C8e/Jqna+RyEOLaYCDPNW7Gi+1V877H5n8rOdtXlzMRkR5YR6Ho7+qZ/hpBpdOgk7clMwk9IA7N7A7AAUn0P8t862ERZb31zQSNIF+i7x6tUg/eRW+kGjSAYpfX61syHRt+zH3JwRtVvXyG41Pr/mHag44Npg+jNSUR1oXJIIgX9RbZKzOMqHJa9JBqX3295aUOdVIxJtxq/dWHZVVJkjbbokKkInO95tq1kNyveeDeBbgNMCgCT6ufPjrFud8hyfSspoXsadi5idxfQg5dPiS4aZQBwZuLS3BM0dQ8B9hHIDxmewnUzUsihECdToMiKsk9v8Hxpt5gx5uIYUJ/ATjsogwUxwSAmERCCyZ9XgIhVzx2DWC/gVY6yKmGc+AZF7zJpxVS8fkzcXfVweSF4ztefDZMXVwFUV1fqaikymO8K89zeP2LzcnE6T3PFKwlTFVyRR4jzzA20vNodvQIOSji3NCqNEKmAE5zNAIiToTzsBoVJ2I35525TCii9JUOHsPRe0CaqXH0uasakBH4+CA5TDq7LE+f2xTQxyqOByuZ2bkAId8Ij8eFxHyfo0riHbD6W3SDlQBO305ghatLhMJX8BO0I48sOG7aUWBjaIK3s2Cg7Dw4/MHmtI4qRA626S6JpLskj6yii5BhaZrMXQL5Wi7Uxlr6SEPl1oRjIpmgjPbSEBWw7yiSUSHR2/B1TbJGNotsLpzfDK/HiXT0VACdIda8KUnp7NEKAC0APuDaYj2odmBYn1twkOMDV/eoxsI371Ghh4tDJb4Q1zG1WW8Lq0DyJRE1S2iCZ0yVPxORIZ8bRtLU6NuyVFrwMqdenWGpDOMBFL37pJNizF8HA9DV/sw/L9ebscbnHO83HVJlnvSSUretQ6Yov67AkHDf33viQYOitbRlwYY64HTnXa4EkwPRAJpFD89VmnBv0ckoxjUZOojJSM6ZAHTC6rguZ2te2DOntXnsm4IytLNI4N89ue+Fyd2U/FVCbT4kZXkSEnhK4xmvaYZ5/c2gxoc0IwyUzZc9GEERJ2Ig0V6Am2t/dywb03i46BxqepYIxjkj5CSG2QIxWlF+a92tsLsxjMM4ty5duratqmnTSwXZcXkWNj5uc0pSs51oOyRDYY/TV+IWPWGn17ULiFMcB1TfyrXdeUqvOli81Igcn4e7ibCJPAzunw7RLkv0DEECEpkdgPmyJmgcR8ZQJQF1gHndbSTp9qTsWCPcUWhznXIpY33zMTqmoeoqdHp1YmZw7GwuCt3VxEEBcmfxZAp+S4XVlZCjL6YijdLa9V6PioQJNcsUg7Ct52PC54vC03+7pDV9aXt/4FRiijb0wbyOz6jYTyO9c7zBK6rGJ5MmRAZX/m2jGK+LA5/F1Z4itLjGlThwQWR1QOT+7seG7YigadhVue5W4RQ/mx++N8/ickbc0+UGEeWs8FCMfceomQBfEO9USXDScrAq/4oLWjLrX/8GmWTWfMS3+q8AVsi0VVWtWPCeRFgODdlAvVv890iAmR/TXaX2ZajfFE//ebhL1tYBh0So7e1Kc9Aw8REU0HtYQiibFY/jL9xERterCwFTaKBnZ3yr3TN+suXY5+JMBYlWQ0rNR+NCUpSJojlQAqMjKk38phA/CkJNkl84psIneqRFXodC7EdLkCrswbXnjhLzcprZlunxcBCDMAsZv/2VImOwllTQKpDYNplBLpX+LD77lPgo4Tf95PB5t1OM2MVDdVA/Lh/MvUr6/eSINAgNr/CIKC5v4XPFobvaSjU/vWA8I/zB7skaeY2JD4tf+tv/4J1dVT8RMt7RvMVhdVHmcqLpl9aPZn/gyQg6wAhGJzs6bP3vAFQ++EWc3oj8G0OQXvyoBJ90wP91/Xe1EmGFwIC4hUO/5uBc+i93aFEeSaNhVLeEQAUqdCkIiWNwSJ4KTWgyNvp6pJ+0L2erfYEai0D8CSjJKRR2+qCfFdsnESSGnt2Uxg+Tcy9MTTuU/8lAmC7UEd29LYSREQEtGFlgtVMbsnwlhiQEYJ6kxcQBSh6T3yRINOeDWwKnPouJ1WXgJsFYXGY7jsKSkhj0y8vcc1YFQ+kCrQykLn8YSrZ9Un1jGI447uBqWmoqla8O5xXFIE/mCN8Nm+mZpspZE4ncUvlxXlI0ZLvZDIBz+enEGpeyAe6HrMlCTq8CCNxbwsoZ+bX1IWyrlj7sqX+xwA0yCESp5Ie60ENSFSAzq/afzI5Yb5QzA8wUFz2iuTZ4nCgK4IHsZ/rs0nFL4Y98irLhPBkK7oTR1xb59kKqiWPXIk9HwhmT3cAIiC80AqE4v7UNtKmsiojOKHvWQ2PLIkvwHVPVahfszC349wlKg/FrjJ+ZIEOMrP1bkmX+OoDihYUrIoZUsgvBDNx2ykL4lavk8KojQoReKx9tULEgqcLynkrobTvQEu08kUvh98jq+KuTj0W8wVI7Bj6a42HdOZQf/fupFOShxAFCuCY0aQPK5AEwGdWTZqzMmJnvW1q+nnhDL9xzirt+8mUAErE5SEofhXX9xSHVxo2xTKXjFyxclnDO7P48t+DPsQcrw9C2jIUVqmEMhWRan3pafBxryKiBhagLNZxphe419csyKFTdAXz9VigRKeAZa1fmDmFVWRKX0zNqtPTRLxwF37AHvwRiO3UBMyLiIASzifosEVPGm4DEiHXVVCXVVNv9xmETqn+HE+1pb6m8Q9LKBs9GIVEXikCFy/3yIzLulxD4HbiKwjsOUB3xVSJIJOYnpvN4UH2UgkKrC8Vq6hE2zws38Wasd4gMhz2iUImNZRy3RlEcDXrqlb0N5sReWycaiK/2dtQqN44pTFkyO4gRIKNgNrH/0ZgwMng9j6YG+R+FibHqGFdeILAYBNSJS2xrnoImYxhJw0uO4A+Ed+29/A/GYA3qjGwoqBbzCqRkUg5AhgvLVkkQF2C6YarJXix85zP7nG9tAGO631C7zsSeJjx2r6Yz6onTu5wKwjXeHFtQK48hD7dxUW+pYvVQYCOJ5S/eISfCRHkKdwgEHIekXGJfobP64r/o+nXhmcI04jBmS75DP3RNIeBpaRlxR8G8CHXuRoy9KRuFOjyM20BhrLICoR2ZDBMOajxyWi7LGNWFU92P0PwG8LolCHDvbYRTj5Aj8UpYbp/JyrP1AU6atsKY8y2kaJ1u4KeEDzUnpoDNvw5Egt+4w5DMBzqIa/64FU02NlroiSIjGy5n2egF+GLUDp70JIN6YsRrsM5ovkB9ti028ZTeVA60cjZ9IoH2KA6lViZ0eIQH1OUgm521PZ7mLh1StfydN+jpPew50owDQEhUMvVQAyjLVDaFm23fqq3+nGZsoBDsoyBbyIewLzL2V7A/5+DxpySZD9FeeUR38SdXESkJEVrkpX38l5modMuednvSbTxI2OB2nIsYCZE2cRdnEnpKaOIcGK2JFPOsKz7cPN+77k4PpfHkuJYc3BI8OvwVwKTEjLla9zZzujHUpaS57M99Le4dOj6hTAz1b5U8QJfdSl5RVZq1NQdCaOFVXI0VugJy0vVj90D8Qnwvf8RhBA2f6sXOYygCVQdotIBNomtM9xymGEhKNI+mhxSpdU0oaiRlvIsdU+qfUiVEPUz0BNuC2+jq61dktWNVxgB021MOjMK2csWvSUXofCW+qGKsJpQjLczqfplQMZAE9On30+0SVgU5s3TaR2zKX8QP3Dr372cCiMvH5vACmFrQ/dgK1E43ZYzELU//8Q9sKZSFOPt8U4I7gYRwK2WnNYd9mqkE3p2WG4SPgeXUR4VCcxE8XdtFidoSl1HhmvdiAB0RvT3bQA3JLdF/s6c81Os8LYMLWgx/r+KTw3gAw7GFo+ua4E+YOrouDA27o71VUTFp3igfhP7zoQwUYRg6ctsHEheWHZsUj6yPQK/O7/R5XTQg3KXGAK3MTxyNTSRHH8kzuIHj7/dg1Jja1fx+WsKsrvoRJYBVe6O3+15EQvVlSpJp1PXIwz4/RhJyfqkpslg0/AFFA3HTjUGwM9UzgCWPFZzUGuShUPYG/+rylYCJMUc7hsorVAoEZSWvui+/WIDyAm4Z7LZC2O/Ej90qsjy1SxSWqlVXaGlUTMn3cLS46N7NJq0BHPZwBw2fo/F4oHRpP44AJvUkqxRBrmKGQWW5UBQRRTN1MWu1ws/QmS72KdiEzlnjEiLBiEmtg1AFRP0kk2xB65Gwuxs8E2lVOzE9G7gSf5Vai2/vv438f5oN8k1Xreur+s20m6fD25lwUKAduYg+yjLEoK9JsKAgWQrthJ3N9LaNEmmPPG77mXzw3BXLKwxI0YzOpSCTiQuN5dGTVR8Gc6g+koKaN97d1O/hn56K5rsIN4kG7+76o5YT1QJfhvz9HJFVZ6vpBzDvX/Bgnj6bnCQJK+bIjHUwITytOcH11Dki0IwvzHInj+oXppdupw+wk13SsDRdEHgaQ65S81HggTCP6mgVvFoMubBCPEMdYQzX9ca76yxde6GP72t4B7LDt0O9LTs14NLNgeyuvGKsoWUuXo8I5GemHis/aW9m5QhOchQ7SBeiSwzdWxdJrt37Y4fXA0SgVpwjfrCdCxnyq80kCcK/9LhGIYhwEpHbv4Pb9AWILA6X1RYEGqRUuVrQzE5MNcKEchqEtRBmbh7I0e/tZHIrERveHLtoKMvJbBeEmbxodDMser/v6AimJS6JrPM5NIeRv5Jiyk3f3NbOwjNA+fjCDKqxTXhRQRtNCO7Ug3oc4Y8+wtJku2HGfeQg5QT4Q9H6Vk6IsmabZHKkzMhPWbrJU29dVjNK+sZMmZMssc+uiNa8CnJonHOouOdQaWwc9L1FOwWI/BEI+8HPwL9TCBCFwHMeNSvJZqAFDetzC8BpHO0xOt2nbp0ZWPqEbdgE+V+vUgDUWcSlFbiY2Qk21voOAfBZVN6nwb68dbVEjV2/wWJaZkrDavjfQ1IEnVqe9RtBIttSF9kgyQ9O0P/6Ve1BEzWz3nLBPJcZHZMzsB7oijR3oFMtVu7FFYItcp14t0SbZKBJ66GPpWoeZ3OK4aC9TIhy384a1mKyH3jkLcQ8gHt0nGob0p9fG2v9Sq9pgtGxXSMnQtOR+CHNDo0bxc/kLW//Yt+qmJ5Md+b2/o9iQ7SELuF31d/iGAjhAzDU2mD/gzxZWcVBQyeWDQY25NwmZl+NNqCfy43BhgXGmJc+cJyjoDk5uW7bb4MR321VhBmTrfqV8QYy2lOW42ZG9OSztU5Q9ivePJdR+b2TYnmrxQ9Dqfwr6FEPfMt+T2Rjao+S8cpgXaUDC3BJGzZjtDFWkPICLrV5Vnue63IhM3jAVagmn0lOthRW42zJaCN6HpIvKZc8oKIsodLy2mSRfESDwHSrQvyOwMNbxhQj3IF+OR4nt9Fblvk+7y3HRbyLOAWKQ5ISon+PtuUWFKA/vBDIw29kW/z8wIvRmOITrWKbYy6QUjEO9snw3iO1Pr9vuknlF8HFa5xJfth36QTPCMbvPX3JWGMQJwV2IWx/o3Nhuf2GqdJIlGfWsraLH/4kW/NWKX9ImsRTaaweqvjxhI1JJIZxaKilRrvz3aI5M9Bshwy+wl94WlJn9UFIXlJQhoXIHL6gB3tM9iv+GLfv95zSwt5z+yS8tvEL24RQjH6kHZZR4zWkdCaqTTPkAJ5yNCgjEUy93d4MJWjFGfQBJ71GAXdumMx/cm4CzVDT+7QFiE4rbsf7V9fNFfVB/DHtgCx9BZRg6f1IyXHgyhhBSs5HN8AtZYcPooAuptW7sGnVF96tJOp5q8DdJVffZgSDDbc7LtKin4i+wo3QcU7bwBWoZV7OoFIkajMOTxY8wOKX+HGBnzBH7UBPPdgYXUzLEUrZHsly9r9hvwI7qQ9rmCo/YfWj6Dd5+gV54I1uFZxBA9Vwkq1ZBsJhD9eNLRAV6CrVvu/3OJhl1Mm0nQQMc5YUEo/g3pWtQROLk8AWtXt6XDXVfbijvUArxWpOfyepZ6DAuDT+ZKDug8yf1FlsMpKLKtqDQGQcC2LvttmYcojG0vgJEx0q9KSJpaF2zyYBet5uY4HEUuM78I28xdP8IHFGi0In3Lm3v68HbWrySPdQ4Uf4nDDv6d9e8otgWXoYPJONqutnf5TtnZPw+bzRmxmGpdeGAww3xlwJ8F/Zfsx1a9gdaZKieJfSOotlNULaIIjmc9alXI69gkd6lcUM7G8amMQJ3TqCsoL3F/jWqENXZwOIZpEl8aZVcWwzxZt5cosC7uOiXq65wto20WNh6RJp6TbWkR/oUg/qRcliOdunlSbrbCThjZ0Od20v1yy/QlG7ZZ3mr5nkHQSHuYbODW9Q92fCD29EnIWHASTbNKRlmWmCVpOLz6nFUeYypY5HfbX5lm1p1MhQG63twgRofK0aD4LAY+wmodp/k+DtoYjgBYsyoe2ylXh2ktIhYMsHSslEBGNfB5nGHPCfNzJhsSlY6w1c6IaK5rCbBhsPC7gDgaQo7c14Td3kaI6ZR2NLi3I67127s8T65VSdlwqtBEgCSPawHJcXN0jD24Ov7dMrV2ak00BTT2zjIbaa+xaqTBTpJt4wsqqmwEZzNfoQoBc5OLgn0aRBqbW2eNWpfk25fQ1Fn+LhNEjF+1RrcPMdl07kW+5Ep3nYoNteONNTJlJit4lQCNdrv3MmOZU67Xh1AFAIZxLJFLl8lhpRDbiXy35YSqGtJuG9UmntImX4OwbcFcjjfQxU6hT1uvAQig3YzDUNbZ8LiLXo9ifh9ghftuqNu+OB1yHINRUL4cIp9a6DavpoDUUuqCTl3/QKyhidHgq+9CKRRP1gD8ukzsJvkIjEml/Z30fmspKhcLlKASXfoG9zWe70+t63AzBlSx/J+v/JcQYU2kiTmxLM7+75XLuYnHAzkBkCO/mkQlryK3tlu9SgudS1P7lBrRTzpxUPqS/JdYgNIXINHeLkpmNEcPUyyTHDQlo6whA7LIfPKxz3ZPBqjKFJy2llYI+Ytm4Ssyy0sA5Lk+v5lI7WjllhwdQY8VHP5bqbB6cGHQ69T3UdlFtpBs9V+DnUQFSB2iXAZvHLafe+OfeqMdwayVztL6Tq+B2qp5uC9T9AsQ+HNBwqDUt23JWI+gLHjoRiAbHwVx1Wx+P+2dLBCVfBMnOtXpOyyOrMt+Z3droR/JE9AkUC0YJ5FbRN5ykJRToawPUU5nD1JOYh8cpsNBvJZHhe+DNycauQuQNB0ZvC9UpINSvAoWva9WpfTjJpUNRW/kIlfXPQp82JNLmhGv5qso2SpdKjHW+/FnYJPJkipW/Wf9bIRV0x2SD6iqhiVxuJQ02qufVEfH/5Crp52KuEL3lpZbJJIxlFw/WS/0EXATnhsoGSXm90r+i+zL6h8bNZ2s/c3OxPf//cfvOMq6NORsJxFeErauUBNHFQtREWg3Q4FknbGD+y5onA/RkwtBFYcXR97mUPVUb9PleEKVtOO//yIL/2iigCFdufJn+shgXcT+NZ6IkKgJ/f/7+KjjPDPH8mYzFiU1eGUFxanhZj4Ux4F+XcRr9XdiiYdQ7RpZq2VjTNohOwfi+ttCzTf7AFdbjKNbo49I5UvmxP1gZrJUd7QowUGGEp6zwoymxNuCcKcdwqBmX5C6FXvmxHs085JitHXuwha7XR/SEbE0AqhyWuMYgHV0Bxf+PtUN0FdvLPtuJ/eVGQGKMrYycSnVF+fxmrrQXI5K5QZzUGYvfbR3tB/58qYYrQa58BWqmBVAVTKC+d/2sL4qyzsoJrDw9ZdVIxDwVxpL4rP8AGfy2U1yrcyj7PatndSL78AaKssEnhyBTEReK4WdvGm6ICd7GNRHWxYdwV65jlAnBvP9E22QB5NLlEzMfhy9/ttFU1J1l8lhaIP6zhs3L4O3Cgo5CWthEbkItY+A19VD3Rjn8PaZ7AILb4rD/XwLLTr4yYtPhraRiwZR3srK4rdwwKAGZX5cZsc537NJWqTmOIktLmHZMGxQUAGPgF+zYqowVQROpXdHWSAgGvl+y1osg0qupSi0mknNInYVOg+7q1UiLz+mPFuS8hdLOvQca/WL37bvSYEVpA4IR2jEjzVC8ZO0BfHAaTPtepxZghn0pqXspQC+3pN7OPIUbJhO/eBU7+f9BZNLLWPO5yCcMQ691MCdIo3KZtyRhZDEQHr6ruXYTgu6DJGcuZpRPfnSDShSWjLXWBeIHoNa7j2JuITGUG6QpEzmuI63P4w1UNaqAZXHNiMG/RBRH4qC7O0GYk63Q7MX2OgWPWFCkvEDmCm3cmbJYCj8QcXdabgBsvG0sA9N0XwoLtumXsVSgP6LEDYSjBYfee1RoWZTion5bg/EHgehzZt3z0Cc6q/DGERgC18rmu2B9wK+4gbKvovbe3rMcAswRNvyUQqwY3qkys05EIg10Fbs+MUuZ4UB29MXcYmoVGe+XPdlmYkzP2Wk3/O3YwMAQAKlE3zLB176qTENS2BSvpg0gejPVULLF9Z/kL9WT8dsjfvOc182mlGfA0zMg6RMAC45aipVNuF5hkXVeCqPkJaQ3ifl7suq72bzxGD+Uq/+SO+VoSgUsFKvA2HNzC3/P5uO+8P4kE+e+/RU8fswd8JCNPDVWnILUGYUKtN1GjnkagSk7Js6y/adNtw4m/K0gGDzCQxEE1dOlsPi4sv6O+IoFhokVroR6AhyOImqetaEiEhfS3N0BZ/IzX4r6N8RyeYD5SaYLtWKiFquAMDSqPqrzaxbnAUuZZ2cPwq/4xHwJcv/1WUMbvBrd/Y7W6DsX6SivRbNnOl3318fZNjnm/3bIlChq3cGTy8m45Q95udhbZB0ILj9xnr3xSVg1MDH6GI7Z5y4UEsom8VX+H0l4BWn2PywRdcu1YIedh/aky/maz2OpeT1WlLdjNAfeOL9hZ3Hct7M2Sqri2e0JMS0qIpqA5CH6OJsWYpVAY5WKZ9hoHzEGR+PKTj9gZfw2BzCaP39LaXjsXjEuy2v8A2cQS2of5pQI2QTFOPCCXMi6jUaoAkw1q8PeVW/uMKN6EBxdarydHHduKdboDmkV/oju1jJBzCJOWMoLLdOLRsP5Mz7kbKiuuJzglL6nly6dFI7S8UsedVsj3JVx4MOSHz7Qjn68tmjZp9VJeWaHvnMM958OlHbVPLp5dkBiHS8yW2SbgLeVohiijFGQ5n3UGVrmfnCvrgwjPZ/NXznhSa3nWhaBjFEbhll4nMrp1WSK2MJqBH0a5eOyLZwcoGPT7Ybb0R7NU3/GavDKAb/C23BQq3rG+57PtMdw4/l9X44lYON6GC4yR4QsF2IgXupwTLVVIZEmSRd5hI7l9R6rrw33Z4sJ76+/dZEJmtUIJh2m8EOJxbj9kUc51fGz9gG0/0e8fr8yj8xififglhcQf5izPe6lBWMDes7f2Rie2ntDYj0yzXncV9aaxJz3cBP7zL+H2z8+eLNOsSJ248v10soMlqmxsA4JTObsjE2j0PchsX1tzfV8xHzaerFewHDEfFzMXlFI/sT2qfupKE3ATDA2MNocFm0jm35eQitaExZZ/OsGlwxbB/RAvTR9h3fcAlcyNVnz4JNLP4MeFcgcorHZr72ohvaNt1mIbqNnk3s1KLReJUhN4I5cDnnzAaphmcDG9sf/QU0Mslk1HxTT6M4+6hoL4INCWUe+gNspco/80iAqymyT7qwFzUAci3rDpIZnMTs3smbTb9KonTA9pTqazw1chJiTnCNrGUb++SEn/aHuFtSQiwKa0Z8btf8VVbiHK1Dk406APpCSturLZ3LLomKrD+FPuIGEmnZOs6A0yjkoRsjk/X0wMNw11cXFyi5CJhBnSjklaosBgJM17/n1njZnNDRKN3AP3qo1OYzIcZYWXsgRGJDdVg1h7GgQkhXFKzXGTzwrL6CWfhq5XMMU9I3+oNP+5fiEqeG8NIwzfxINBjTAZ0h3Hus//43CyE4AFEJV57uoNEMPYyPD5OQ3aAK6lCTCw/szlOtuB69KVJFJC5hMXBgWeQhOPJd2znU0Dwp9+FqK6WYzSVZuh8nBPGKU73Zic7G9ItTUZAJndlVmYVJ8XBTD59k8pguCDU0jx2tZ9mKtKR1PHx5ywveg4DtTscF0lwR2EXj6/f1PYrwn2qM9I6MUFAdpqXpv3OoqFbcxDojXhyOkg2Ztn9fgxV8SDCOQzqrW/PF07tT68rUBvEARb4oJgafH5s6wHbwdwXT3tUeq2HPj8bVMAbYOP7OmVlZSPJW0ZjwOR82V17pVeABX1ZOqGTGdEv9DEcCjcj872CfS55SvJf2LGLkWADqZWXjrgslnmh9SWJDX+vcL1f+zYH4PXvFnVmHWcP9r4ZmczAYBWngRyXPIPm6VHS5CIOcBvEBBkyh1gr/Eil2nzLRG1MYKsIVw3/0OBxdsAb3Igspqf5yrdM8ydummKd6STgFl7giScbQYx1wSJNCyjXKU1xYmSv9y3GadNr7/i8A9Cz/0t5WdIpwr0PKNE6qvyDp9fMm2sJNSFYQOJIWYlcaRAtxqe7qM9xAkJ6nrLCHAvTThHm0okHajCtl60+VP3FpS153XGLVgReCONpc0K5VH4AbQEE8sH0lw/3TZr2g+FhXKqww2Cs7gpzzsWCUsHmGnPqYxgpdIgzrdJKjjy3p5RgdbkksmnyPbWvZ1vS5dTvPDWd+Cim4qNLJJSA6e2qGe6MSYO2szhjUXNjJgY0kqlVT8a6ANYX3zwGPYXHjNVpk68oqgpp7KCKs7rcB4zYTSmbuZleQbpQgwdrqHjOVi4hZNERNPHJWCVqWqxUkmKjodAn5IQtc9Z6+hLKBwl/+Y/PfpfbgEatpTtXPQWeQLn+zGha0jlsWXPNoRMM4CnJeI/7Ofw/xi5Wm21tQWfjLllyRhkO0ORh8zQJVLpxSnt+r3TS3qRM+EUzEgL45ZEXbLpO5Ny8jsC2kTN7wGIEaKQCGpuESVSXr7CEVldyofD2bg08U4vhckacqWcVh06nhwvDl3NsHizJbQQAC40RPK+0aK24rXqL9Ofe+LwZNqjyM4Kz3l8BMpz5EKWXF2sk+of/18gSZ11t/9p9nXJAScZHKBDLygn2f60b7DojoMIju2UtTVtojpr4kBCZTwk+jc2k2MeS1K/M3rRuU51O7J2N9DARgjlU5gsI29yvD1oKw9WWbLmRezf45CfCWipZYUtiH/R2UqTE4iEF782I3t85mQfbv1/rG8GfbgP4azYErEy4Cl+0/kZKPkyjvbVsj4c7ZSXhG9qf5VNrAGMFjW8nBsnRtJXaABV0Iwj2Uxie3Ib7hIKi25p5BwHfApsc23cjbuCR9Ms5rR9l8WJrOpc6G13r5hslTyCe7BfzbN94FY1JqJ+zwlcPiITeo9Hk5cG/cOvsn3XyQzS+j3btvSINeEeqe5q1DoKFkyPquiNkn2etCbfC0SeQi4iG79K/oQsW7mEjXNaZ3qYjZvFayk/TD9kZQojttVBaYxnSYKfnGWYCj1YUBcgRz9JX5XeihJqeusmbJaPkO7eotFQq1Pi/yN0EnrvD7tgp2bQm6odwvF/L4RfQ6U+NZlCCfcxjCdns4iskzGbx89gGzLha1SWl1pYlMvSTKscJHFG7vquqQtsYv7iYxpL+U429LBrAAXJ0rP+F68tsTMefC/wYUWZ826wZcAxacBvTeazrxqgoh9GoAQB9/OGL7YBf3QJvt9GE1P2kls7wzUkFC9yu0c5naeSND1vyrf+1E/klPLf2ntlfyrYe6mZ4Tag+CQmdv8h9ODM5K1Ch/Mi0cK5onhfmOkQj79weKJoWY4uQ8RE0XsBOOP3Ey+hQealEJOxzfuyIJt4py6DWKnEJibLa0FTsT5Dd5dqxzaEEbSQjA0YTwKW8SzS4PoVM1u/+LO+t7JlvjJgkl+sZjMjxXQn4o2NRBNMTIhQGhGFrVNxg9val3k8fh2RrOLSJqte3ep84VS6S9YNEp5j2cU295jH89Ub7bfFgSmTMWJ1kGmh2HpDUdmqRC+hmUHb1JNt5qecChJVztDqMSnRrBtbiy0FdJ0+Du+RzRqHtW22TXu9J6RnXn94dMcwMfSwLzlfKZtbtCagltAUZ1K9/FlIjEXx8g6dwUy7EkIph7MLNp+Tp4TnQYOZuyTXU8hi5JO4xepkB1LknhanpZWAhP3DRZTR1b2FaDrO+rUKuNCRv1x6YkXq2Tr7aMINAWVy7MeMo3uzUs3FhfbDn3CIvRbuSPOu1/Wx49MYcwXhVVMhRlBvoAmqzj+lKJi4czcoCAy6fZ/viPtr85vKK9SeEYZLSXMzJ/NivEg1LE0yLFCLZW+/8d2cK7cAa1NDGNuHszgPi6OPf7c2tHGqJZ4uITHwa8ebe3S/SHmEYmN/7aVkdDOBFHRvzLYlrbfLlCcJVYY3TGqE04+reXBIYJmtnVpMOQdrFu+6NVwXkl2e2bt6ublg0tdo9hLOmF1VjAraLbcTU2fh9AMIVNl36XbjQCZdXRhMzMw9uXjGb549iLe/BX6Hr1lA7QWoakKp6eGOz98Njt+bDbdYCK30Q5ZMJY6ON9siNRx5LLH+qt/K5rv/h2dYbj+l3bg3l6ym6IY+OIZsrQ39EqPH/1HX2f2R3K/USlVb6Bf4JFJxKY9IYMO2qxdRfvnk+ZGF23xktG3PQ7kTTCHqfUOmBoh9OBc7/BA+a39cV/ZVbqkH9yGmb2sFVthfE9sdypdU98MN1Z9oAXobYjrIFiM8La7bsKdVUHk+cQQbRjuS8jQxoEwMLvD6T44JjALANo5m4PlwBp1EyRyBzFbQWyT4iNBAKU9LA1be3Py2j/xUKoby9fsk7UERVt2fI9E02n40EOVSQowqNajDD/omSoK2RRcMhKA6hOMbBJAnzN9DIouErQE12/e0VY9FGX3qrl1059dt1mtsJEvnYSJkUwksMMEeFjmX4WZkMblk0rfUIj3SHv9LMhyeXm4lslKZkS/wnp6RA0/kZEdyCxBOjgdrDoOlyr3jzVtR9EprfSXIyDLg5AsQmVNOS9nOXLdr6L/qzDVUkkNnepd0HXM+b644VfsnOLeAyg9tDADJHTbLFfjhKehEatrYlTZwESoDJd8erFtL+gQchNOXX+DnZFhV2vnQYd53iEQJ3xyD66z+oKgQQp5fyy8XdskOcAxd0mjQZMYJxq0OuIFxAzHbZ7JlXB5BcLsWkx6aVMBP5VffsOvHOatDNID6ud3FlB+nJkU8jcN3FbRRsgve5BVRHn+EvnWUEK4d2OTFu1XSTkp5Rvyk8HsoKrQw+ftpiuJrld4SzcBOTUP6scJQx0Up0i44wM49B2l7PaYD6SWvncX4/v0b+HRK6siPYUZvl9/vP/pafLj0KcOlOMLr5RDBG5jPItW+h73qERf1Wz2C/eL5DstD8O3mfRSiqo8b4ihwh0GAi8qKW10C1QJzluOI038iC7mxzjwOI4BvnVafn+EShYs46uTDapXmkChca7/aNqsWgq0ZbX5jLn07RuleFNUfaTpSLWUFtVhAvzd4zCbiQ3QbuPBdIsRepOkFxPGXLuW3V2FIhI0fJAWKhGfVrkvlooJSQq0+Pw1WfiEqd+tJIUIBo+rv4PirATtisAeLDIhxx9hwIiRD+5Y9kwmd2VYQ1qQNGBJOnu0PxhK44jQTbl4+WgkXDYW1zUQBp8Mh+iHQ7WttQg29CbGJ+P7yEsW7Uj9ctUNW/GlozJ/SbytY8Ztit/RpB5HCf8HBupu6UFtpMlQozuT2wA/SfHQEGK9tFI4BC7cDMoUp7VylqAflRyRlscZ6BK2GjJw1Y5tTkhGpw98UUh2oSVcOEFQvdr8V1vwdAW+ySxW18u0mBZpwfPKUqvnbNLWrhUf9hlI2kGl/3m6gzMsIIlSrVKFOvlGb9bNbNf0cc80omYRJBkxcssI6WcS3MPOEPcMwqttL03b4lhc5Mi7XhH9d1G3WQgadz10Z5QIHXRUSjjU+2gwghPGUO64KguMMyNLddn5ZAUW1CWIJP7EtIn/nxA0USitezLnSInam/f8U1RAoMkQNrxWNdxqAFaurH9l256Q3s+/ua5eR7DjfcB4xaUJUp4Wubt5hYneCLr+nX03svBSz6BaeUk0mVvydI7Chratdl9IoJ0yAhbYmoQmx7fiDIYJ80x1u5br1VDxUTNQr88k2bw0zJ7oOEqG8KFrV4BReZOI38eaxr9L/hinycbaYtEQhB9kQNsMtrBHpP5TFeTqnN65BtQY1AL65DcWYkYVr9LdWgBjUfATiWCg5iPHIPW3gSj+Liamte7yAmLsJvvqm1xcNxHyu7JAawPJrJ17p76q/5tvGRPS4zBzKlfTeMzL75gWtt740SPF3gfU59veQgwZ+BprDEkAb6Zal0BVBmGqt/O6XPUmoj4m/7RGT1w8/eVP8YxtmjBIUvaVIlb6ycRzYK3R4wnahkTMtdX13Klvp7OTjYdSOM6fFb1C7SBd1vfG+KaREFaIktEzTe1tSP0/9GkDrv30DIWOtQFLCPmulCqOfh5rZkiQk+i0c74xqXXGaKvXKb7Z1w0miBlxxb34kixjniOF4pvORB9FBSHyzfud28SeazXKS3CP5ifp8Jo5N94nyqSEWNLDM5I5oUGNlt0LSsQuOUOhc16+/FUqnDYki1o498lAswbqTDHX+3d8GGhrlGFv+EsJqSH1Iu+fxi2xbnJ9My/7N4aNuv2qrb936CZKHw6JdC2m0SmnhqQlXbndjxmzjOMF8wsUM2Cjp0xCl4Osr1cCkeKKmaqcFZlcoWO/nyd6BEhD4xKi6gY0I74Iwooj+wos1MryD71lQGBuaoPxVGhPb1l4JHaY8tmBFNQMr5pNPyQ7Crz60wR5KU1w8MePz6+0WBkdPWa/G9yr47emfHpT+IQrJPs7TFjOuL+WZNx/drXrk3QXdfKiYQrFnWyeHnocgYWGctsHb6sfhhlCfP/6KhsYu151XM4dYuGUOMH3bCdYjeqwE8zcBREDMkKlgW6zFS0vsQ/GkTHMxIQtd0CubhvmkS9y2J1+3bONYfFVC0B6mfkafwr7S402pCOP+025trS5KrPlrrJTzL8zE2QoByfi6YfzlKOqVNXF1dagdT4H8R4Be39HLgoYtvpHjkscvbJazajYD2+zTxojnH1baJLKnmoP4An9vjTpy61YcyMa5ZOJiQdv92M9cCbMRv1u3j5NO5kzfmJfsLbGlXaZMejfsmlBXnk5coJs13MavVy0D8A2gi/anafjszOa4PiVECZxtbelL/E5KW3QijkmVXN3SL8AOv35OrYdKX6Fs7WMa1dc2mFoOBJPM6nvMsh4o98i309G95Cxwr82F08CaVm/o2aLZQN0pxNlBZpgwWDyLZsxzmjBtZaICNXy+E/lpaRuXqYW7ff4/NcR4Qv+osFzaHXgLE1e9IW9E7gDNQvfi39wgUFNn/PBaw8rtA9OXvDtaM68PcLi1xpmWNx70fEuhhnO8AZg+WsF44xB62WdBU1PgZ2z/BeI5EPBu0Om2OmY/4D+58tbdEdjg2zQwZLaAKX4qdRY8J9nFRB4k2DUdRaoyYj1UwJqawcgTMbs4kCVK+YPR//8pUWbQF9Q6HGGvokCEkfqRLtLP7cvBXCFhbvxBlPV+CVrnAQS9hM6Db57835UwSycq8BZGbqoi9NoSETJzgtiOqVekbPKrVK0Mv060Fh0Hkcxyh92Hdiq0Ai3uOghEtdyLGNC4BaMJYdCbHu1HLzvPcJO5ddR/KxogEqjVfh/KddFdCwMi5HnusXjCYC2FvGV0jWcM5JQT84/zG/Sa60b8BmZ9xgBbZ8vW69d9W2dbl+4XvhMdiyqoGSdqA2IPhBnMWzUSJq1idxbz61/KiY+akYGJpnij91DQXZBPe0TI7uBzfFtBobjVqmyib/373HpAGow+hwUNAuaz6gdD+rOsIDoE/OD5Tj3fhClDcEnNawLD35v0ACz/JP5VHtNJMNr4B3UWnt2E+Vsdbqw98Vd6raDL4l3Lgwbu90yppZAQEuU5ZUSU4/2DJOOH4DVCXraVlqu23s14JEXyuKGDssby7dMj2d3+Hizr4V6QxXYLfJYZ9ImEQx3mYjJMY+zBK1SsmSZllYzVYqS7cGzejV20hcKKDn/QhQMEdvA0bM3t4xtWBO74U47/ed6PDgy9frNyMtlRiz9UdRIgLIOW8Y/uk2+llwjy9JcsQy7/z2qWYS7V34gjFWiuFxu8tee5z8+JRbeyZf5t3jzPWjUIBwEFcP1IYDmyLI4rjM3LLcAQEo12x+80dlInjOt9vBT9d8C6KLwEU5meie1cM+n/zRHxMzhGpgK7B9s6fg4okhE60mvHfog6cV4wQJKS8YBzgizfCy8HM+vOgVgGNCqdE9v9HeKXBrqIwlIdcwmPsH0AGJsIxbVoh1DG7pI1lfFQG8wL3K/CBrkddayPhm0teb4rl1zl+BkPr2Bus1GYk7fuBMVKTazd1KqZJ0fRHXU9EAIXmZ9paBjtSkvfgpGYjWSHab7O9jM/JmhQ7AjLwPNQa4WVQW7w7bhTs3LVwyu8NvxXp3rvERKztLOt4m5OqLy5U8Zs2NjRDT8fpEBcataDVsyxJ8PLurwxMVPfr63jLTEJmh2OSz2sItLwIRHdReyoUHpskKVl3FkY+JQRiscJQcExChNpOKCeK8745jmFdfvStNDDHerKmBCwjXsy7fB+tMy8F6feu6Y00ohFF6qP1z11PmYuUf57+esgRMv9gwypoRwiPZoYMaDfQBYHJ2NP6zrBFpbdcyKOfXkMswFTYHKyBeXvAUP1HU/hJfaHnb5Jsir4/QkQdQdQgMC3OZ1+zAsAl4ixaMQBcL3ayABpgbE+UYIh3f3ZY/5FbMLDkS6jTMtzdJnzJh5JCBdPqnD5otFN6AejlNIBSiVVEE1PvRKUQjoJtqi+V0pI0GJX8B2tKEcbXnW2nxN5wQjcvdqNF8+xOHIrxmNT4pYeqGnPeUTlrSNYn7O4V5VuiREXCa6U3Gty+ILmJrQLrGK2INmwIxOAmcKJjZ1KKKy7bHN75VLzAdWBoTxhyUOR5mMp5Ot18VKxytO0zMMbb7tT0DjNVPbxdjcXTkQdxv9YJVH26MKrRltt7wxtvWIe0NjugPKx6Sz2j8MCusd0gG3jVmSsxuf+JdrLTlnrtOANrULUvrHYGNvGDyvTo97DYw0KHGCYxGX1GmHFVncrw+NZ5CoR9wzLRKOltmyrtPPOJ7I9wJ9eAyc3Ewg2DgY5MXR1ehq+R8J8k7hwMvU/mhOS+IanWPU5Y/nn4mXfbr5IXCX2rNozpd5HTVtUjv8yXI09OEM8at/IhDzif6e0ShXSO8FxhPp7PnEPFi3pJo8Ai1QJUwgrkKhaX7Q1G1LR4g8fJPgQ7oFdfwBCLkYfslp/YvVSIJgl9/MUnNN34nWv4T50U/7ffQH5Fm/cdnPkLvd+Uc2ao1XNjjQuem1v/poQTu3cEOsBu/Tt6nrfQ9ny+iTkK23mBAWr/9p3VIE195FvqwXbhC6hjw7B3AtNje44W5ZiyPAnzFfRU4l2ssTSyaoDomXyC79fNGSK/rlJvveZkNCpB9Jm+QYwKcnpMic+NZC22OyelS9zFh8B+yEj+KcHdQaKmLCG3ByIkhYpJqNhjlPWsE/6TUTL46ddqA6sJatoAPMpkBM3oHokW7FDfUDXmbWgJeuvUPdYYeBGqkKoBZgUPMlBPmGaf1g7z7B6IKBhrFvTObzNKHToQyUaJrVtxCXdAAlqfe3fr2volCMva2yUJF0UVgbPsHRPL/0nF+ZbkdYON/7pbhuneLp3TprAw6/kDtNLYTS6Z/D21ozCd31aH+Y4K/bIu9zpTRfUuXHtJ3Ys75NRJo/11MAMBzN3XMbsTpX4HwpT6vdTt4JPwtRsUZ/hTUCIwotCdytByvHmNjP1ncO9PEGNeC66sj1O6hvIHZF4kUcrpqhUh3fp1dQDo55iUjJx+FJUMVgoYF8C3L4qmUN8JJCNnTrOpbM4GstrUR9Sys7/8/b0RAgfgATzKFsWYeHx4xMf5LN1tN25G+iHrEvZNhNAFgzPYIC6hiGnTsZtijbZCMEwfUU6IjNcfcpTdNh+UHgyS0qXzukjvfkgp7ALnYvIhv0jkC28cv5SGbh8nBbmXhMwE2u8KU2+U3U37BGuKn28LYHi8RKnu7p5fxeP5n+kLyTJepB/bmHtp2z7MKsBUV+LRDVfy0Nnzdku/ehTPLk+GfERtkgIktXx0qx9VQierzI5A3WggFaRcUAxCJLQ8T/RipBtokYYlx5dfRW8dnC9vOgSwhlw8i24ATwUK/D4MtyelQTDN09dilcs57P/DbtWIgtnjahnXSHjVZ0OnYzQioJVh1zRedaRZy7OAP+exC6uX4U3Y+SEJ2vD+3JxdF1Hu8hkvWUNT4qOqJPpJIhAtfj8s6gibt5jqeje0sKQGYRRjlQguFVbCj4FYLAPCKqKyQNHRC9ZhFJAnPMsHHesJ/YpHn4kMjGPg2Q0dMu+TeFIma3jgqgwtCjIrO1GytmgivkNQQ7NvB4NAI0ykQtmyKmw3qlu134TxXkGxEUuEQWQBIyxFWXBkdoyPLStbcEkCjZ6NSkzbjL81oxg7jOPdsaauCjQsIPd2Uiqu/wBIFlydU12cWwJ6ApN2HQOH45N6fIXIA8jFqiMFQy+2sf2JDD1w3Rzw0GmsZYhRH0P2iVr+Ile3WXoJq7G26tcDkLPpuCgjxfh3YwHIX0jyOGKIFi00Su/haNvnVwTssMcURtGfx1tI+HLx/jgnjHwc26Cw8lH1/r18uKZG+oIPz53Qbj/KXEoArDTc1GYyyGQipcMGMbAcqWFNsFe46AnSd8jtjuwDFsV+azpzt3aY2tYM6B8eX25D1/BNMG9EjG0UDGNVCdRt4IvHQmkH1ZuLvFyGt4NP7SI0rtTHquLznfoBFo5CwtcPkZnvzTA673OMgzmhiavnL20h4gc4d9SCofrEy0axlIJbszIMNOmO5dFeQYJkG1N7je7jqqQi91OzBJqMPk3wVmCzV6pwxVJUAZQ5UFK+sLUnI17AsXzhKFbeCkBfumVALo+Kdieqy+4q7HhTsWx/5gTUBA3mxEKmxPjSE5vrrc6cIHI7asi0Lf8v9aW5ET1ht7BKRoWPjvmN07sWVOXjOOFePMVWjg54xQDRQoKq6qhhPzsGzaxbECjVPz3E89zXDO4IFwtS6P8nrCD34I4QKemW1RyXpZPZFD+6NNMW9mXWCWpxg5FRB/opQzgQ9KKg0vQ5y3DhjTPzRMPGDxu5DUW0HNJxKG6ubnD6vEK5rAfONzZfYP/LCj07Orq/9p0UnPXY3IAqxoOjhSpMsJuDAwlX5QrEdF6jlTUVhm8G6DTNX41HTSJSBQGi/LQOfQkxNoTrzQpVBnuilOVWuyHXIb7IHOD/tm+4oBkabCCoc0tZDPKZsZ59cYrDns4CzsT2Yqag5NtntV6MohciF9FHTP4MjcjWkwrC/IhXKIh0Pn5mwHD7XNvDq484aDVhIxIAGnsc6tJxn2oCtPO0COYTKxn+/T1XtF8bCi3NBe7/ibRng6LYYq5FToa0ajhMvfQG2XeautCOLIgxRLk4VFp35F3u5eWVfT+azVdIfVVK/vinUxrPB2qlPLh6p/hUdZw8I8CVE6QYhubbc5rjdnKlnGVo4IK2SbSz4oepANFac/8/VA0SapiqhfLtLTMGMY9V2D5sC0FlCvGrhAfxnXyYcLyt2Td3nyUYDxPhWL8OfWbXtQ8XhLZx4J6CjY9Qfi5rQKNaAFMwcH60xMkVmdsMeHIJSwt2aaTFDVZoA4EEArqRypEsLTjmeevquq1UZmJbeXYqM20R0H8aP0dB9iiqhkEq/H/kJl//cMhUgPFnR1HoU8Dg+yfRcz8pYBD8fSijqh8hVDKMRZaAxSvAD9bS4DZy/iu5Aq4dnAhP8wqoNP8vkUxDRJS1wVtVAGF8La7NyDbc4ssc3d3d6yh9Bxk/swhRYuERseEBS5sIs5z1fktZZ6bXSoW6B3wPP1+09htMw6i6E1qA6Ddo4JijouoF+TemdA9k8b/6E0f8ZQouw7KqBCcTslp2gdV09sZILAG0DkpxsXOS80MOP020RO4n5th8JwsNhOHFEohCI5yPySQpvl8R8Ck1PCu0f/hPlsRpNtDH1VSWdoDwGSV0HPe6rTIheNnxbtvIeriD8v+3hlXUxrT6wguCgw855Ip4LZn0LuMXDgJfwBuYTOjbWjtFMiupelV9j9dXhc9Nh93U2/jAgvORGohIq/pCDPbfAcu3X1aQ74x6Eh0b8Sx1z8P1Nl1L0I7hiC0UfMLZmQdnLUJ3iXT6U1cg8Y5tjuyLZCCZA5xLsP2ZmQvcQMTmekX9GXU29u8AARDe0RK3xgnI3/JA+wnAwcHKc3OwD2W8xntwjq0NXRHxU/isRCXFeiN2sjnKXkA3QwyuVrmxVFek6nyAULpwiIguepZQsQzrl2MBw0iXcaScKYYfIHb23Z1MEXBTHpnxwA0LTlcfe7A14LOweXDseI1leOZblCe6aBWbMyF56YW1lziwwcuYbgpTZNBokLOYrTrth7fj27QbvWy709b6aPh8vsxxST9RehXGmlHc1BKPoWeeEB/7d2isgUyxZVGMkJi/35GDPQqY8JVBpN6NYc4Na85pZhpmRQ9KLg4gnTFCoxVf+20QbwW7wuI0z6jRNwaHB2e0FNJRUZ9KRsRijjQPiC1MUyS3NDZCMBJ0BQTG3R2dIrDmBNDYWKyEM+5kSejQS4QSoi4T6Y8DQ68rf1kqDg9LdzxApKzh3DWuQd5IgIDER4F49SiOW1gX+IXEokjBc9DNwV/7puvw57P/O65joOZHV8meZWoy9nCz6H4ODUS/L9EV6HjlJAAteCYFZa2s/k0SRzmuVMZRmIeS+Iw+P4y7IytRTiYwUVzn6md7np67uaSlR+/2iMZTmQkWWaP+5WaMRAGJvtMe32L8ZLJxW/1SLcd/kMO//df/QsaolnsTqcL1IM8s4Q1VRnZEpdi8b3JjMd3aq4Nku+b1RsP/01JStxX6+HdnHPhXMR6rJDZbCvXkp++8oAXbTmv+9b92ui026RqQLG+jdN5gwDPcKYRoEmnymLsid22CZV8RP7NNkuhKu8F9oGj13XXyxJlxAfFqOO8/+mvmA6lMvPR3crE65WLx7R65Zm1Rp+dYUWk7D0WvC+ooq1exm8KVC4+qCEytbS8s/pP+HzY8q37TeHnDLkU1S9peUODncB+hcy2dUyJdmnISknME872/+YBvDkDkpdBOrbql+dYBeRphNeQ9fKRI9LvySrQge050vKPX5/FAb4lp/8r1xiHUyKlJ0FOxwdt4vA3YubmT9MYRAG1lGsPkEhKO6ful2JVUFgp5SyZ4jBKTQsvHM3iVQirwCpoh8prsJUHp5/4+bboIw7VTxCJ7dKGIGwZ/jJ0TC6YKaWjcOOPVjQ33RXNgUkwdMULxpS5o41CX/13Ciguht/PJ6VxCU1hwEMkLIJaplltM4Evt2cGBed2AKwM/5ioAQbVPVkSznsVL6fU7ajGS2lqbPZwi2Sa93YPrCIIuVX+p+a/KRKSnJhhfdMWZYJmVSzny5wrVw3Wd+QrJK0f6/i9AgD7UW43qd+5wUQivyNSoES0a+hedd294GyzzP5LxbriCyyGMCxWVUvIkmDGtqzNVx8v9cGlQSDXMxKJpkqqMfKUNHF8ctn288c25TIV39uwaKn0C2C7iIGv06qbrOqZds2HohNYSwh7AqHHlUJG+rU5f9ppDzYukeiswWvs5hYD8sMVWJwcFwJuwJJbQa5QtnW3NBFAAMuw9rrOZOC318nqSL5qeeqAtsb0ikw6AudsnfjEykrencAvKndRutOtoYIeQkH1zyuI/DVe3SaHMTD9lTsYmTRIeOXtPHcgEYkurBWMcDb14SXT2vz4ctRgyBQ6z0xzKy1EXW+dTXlkOG8tQOBy1MTb9rZDu8veqG4apwB95my9hPTdF5+fv65jBIJ8Lru13V4jR+POU0TRxyQiZEzaBLHHNg5cn33IRPbFlFnrDKME3I8iJLDNu1oarhDIyNgwWGVb2xiAdBObMH2opTWLOr/Y5KMgMiYxim2FdgmlQCUKGeRUqHtFWDO45w5KeV4YfixDu8yN/9uGyTomTkQwF6+v1Vb3Hn5QKCsOeW3VPUivagCFk7PleaajteiZRkZhEjpqqjgz3pp+aZaKZemZQGx+aYl4Q1QIKqqW4rMFZh6QMbsUn4oexHdSv/GOE1e37hSORCZBiamUUcRVFlETaTydb+iT2RMGrAyi3Lp8ohzcMqvveYrhxHgYVRfn8ceZsn53aAxxa4LYgKY+quvBuL9wZfpm8pmnEN1i5PAN42dXORnO0AlOFUNCr3mpzL9b7SSfmtBhWgENriUqFVUJLsPpaS7hwW8wiWt/eZoXtct0p0tnqBV0imWh8aUFwfAkcfpmSXbA+MgH2a1w0Nob77tFewFWKB03ZiL/JpQ/D1/4gfZ9m4g1UER9uCnMHHGJxk30YWRg5d3lL7tIJmU6VTg0d1VNRIeaCklRoTeKOnjNs0AoCMbkW84K3nSEGMRHaI4ZDg8kpeCyHdQeSHgmyaANmmegtm/iSHb6C844whfM3RDzr98reJP2Re9nRHm2nU9fsK9BvcHJBSUojeSk+Tk65adkif9JFU2VcPPkdiZkp+ia6u03kAB0Ial7AN4oEHqwV+hgNgonnREzjiOh0rhzk+pNViPQEBPNDs7BNHhOxG3kmRNyL3Dwd09twmv5tGSJ1C7dz/LOhB8D2KtBnV7tgy/qCZmH93Br+0v0Pb8eIssSJWNMxTyP+V6ugjy3Y0VfkAX+dQTaqsFjYfqdx5pikTC+zl5cEuauz+cIhtjYyTpf77gDivCreQlUGje+Fg6FMZD+ASmzCsUUYH4qKjeW+4hRqxaQXkWGFUVLL8LQLgkxhRVZVl0eyrO/ajK5zN2+kDJyG+RBAEJEO3rYVu1j1We7CSSvcN9QPY8iTRvcUj13MdMkttA5l4HkM084sImRPRaxuE+Fv+2k4MDhcmEiAQMbjazj6ppVW9n+NIQ66/9Iw6ApqGaljaYalpek40lnOtwdByB43IljPIFRT5P9uj0/tZVmiRFpNlmwhqgm8A1kk7efc8AKSkjoV91FXvvjBmJj0snwLEDIe3DSQHf2kw6GrfiZVvuIZQTU4KIQAR3tTiOgRM5/03WhzXZf8MD1QYNea+o4mP4tfleYyTng1Tew8tkSI6uoT26s5vYjMLRJvn4etpBwK7HHtT7bOzcIL5JgnzB/NT342MRXkKzRKzlGLKj3y9/SbNZSSpHU2Zp3uug9ucTLO/HMlxnBLkJI4a8ngx32uTgdNjQpJFTizsPKKOmP29LDTZ0XG33rDvtoG9F2g3UKtAXpitNyfQvRmbWX2ppUVorlUTGEkkW/imEtYwom3uAgE21SpzjEpyQ2YmJqv/0ZwaotCCJ5uM/43XSWMOOABV6A5/E4DS8T1G1tfbnQ9Ec0YY1B/JBhnjGN1TL3b5qAKVOs1OSAcE9JsTqkPUTKxirhKf3yw0XqA0gAa9dttvavyuc78qT2riGzpiViT24hY2y26/GjFlrJn2JpueIZ1h2A7x9DLkDhH8hLVnnU08qlVUFGlrhJvSHG9tZoMyLzCTwX3ZSodvwPGgLYXTDmqUuc9hxtjw0o6tYgRf5CZ5pZY6Fdv5rMBMWOh4Zs540EqNEqwGX9608HROvwFB8FaAVGrIjYVDCko5wF0q+UWtEesiwqku6fS32B5bcMBtfL3nyOdd/xDkSHtWeOy4UhxgT8oaSBb8wgRRFSFElJMuy7YAPB1mW+h7H9shbjpZ93bZ0TAMKchLZHYk4hyaoNSP3+CPJDSsdBhh5uhY6KLuzgcSe3UpfiPewKvP1gtMek8x1K7oxo0GQMGrTPKzwXi61xSbWHnyE9JLhty3ITGW0dvOVWBc0e1WQWhaLE6iSekHA4/7lByCsMLFmqH3APW8HsGNxUGPc5SQSSDNBCqvej45A5XPClo6fmbE5j/AAB0IrUuZTReukvHDnrOizbWe4OQ3M/6nSHU0oWmf18QB5Jkm8rF71flrbDeXR1x7PwmZR1BQlinATHTGqytYJaukxndHK1U8cwhKjcjLl9QPLDwPRm6BEb+OFEhHFgacV+O7wlqcW+2g+NzSzD+sQfm6u8PbjHLA85opbleVVt5mZflEM2y9uggJo2ijgJl6YoVHVr7zEZsQMbUREdscw/N7NItffkfrWeNCAFuvjpupZjhq0hP8PozRSyDg3ngcNCobmyQE9LJBdu3HGlLkI4yRoL6X5NomPAI8IMaEo60UVoe8tYX0xRPBJBCqJBC1tqIaDnxHZScp6SA1jlOzfB6QmWLns1HEhf7sStcjlWsnDt4c+C6gavTjvNylK98Gf/Alql+XStZ4E/d+WNDCV262zXAz/x4jKdD9J6l+b1S2/VoDWRRzww/iLVqOaPtkPN+lD6EcPV3tqG1CE0iYL3EWbKOp42w14qMmu6Dc1dLtEwkztDKvls1xgVdkhzQvjN2wadF0jv4qGoMPIKXhHwqflfSrgTSyMQ82mwwhiESnNL+XKinqw1pEJFV9WvZ4W5STflUS0jK2oPuuF/QON/OLXO2uPUmKZ4PhAmC3ilM0X8t3WXUSBcHNdKK4hdrYxPmpmSjXsTjk6E9kpeYDUt2ybw2mQpiFZ2shk2GzMiYhyexe1A63VWgJoF7NjsXbsExE2djoSom8Oy+BV7J62r8rCuaRaXgDe7xq5kjLh25AFvYveRxyE2fpRPATomkk1DO5HE9M7mM/DNnJQW/MVwC1C9bMZIfXBOcADRrZt/ZGUyr+ElSuFLq9OMeDfNnVg6VzBa+KXHhHo6lfe2zj/voFqPk+u8puvWave9Huj2UxCkvyRfDNt7WYEsNoc2xFogN3D+svLY+8n7bIjYBEDe+uhy6vVOeXWMXutYLIo71EBc02WmBuYFggQXZ1RWrH2EQ56SycL/sDjZcXBgklfwUN5Lcle05M+uLK6XM2auvt/jvURs2jP3ZKb7jXT0lUU6snISrDh+Ssk1l4LAz/7Uo3Dq5eQWtT5HgFiBVZiQC07yyR9j1h4luvMxf3MPMOu3qJy/k3X/nHLNPu9Emtn6Dn/Jkla9wkc+LsgaP9BQ7runC5sOE32besKcTL5RnTRcVNY2XtEmVcJCwbniEjrQObC6D0nSm/SXiFVsHoFu+GaYzCK5XTGahHb5SGHwo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xRdLyPBQmwFteRcmjXfmIFbm3W0VzdChVJMhV3mHDqFd3n02aUFWT5uGt0RFu/sjMTyHLU5gIbGEfHz2D6/7SsDoDD9FDda9aiA4RUyXnpHj/EyYKhb+okIoB5TS/1b1l5RlmCRu648ZCnyXetp0kj4nbTcJTFn/c9pgBMfUjvoaUnCmxhtyug2KbnaohzxxiHEB/u+x+g62EimbKgL74wwUo4BgSdn20AGP/SRqm6UihkWvUgocBU8fizpDTXNs0FBNUZj3gScyTv1jtq1fFjXw1n4oZafoWD8IFMIk9tP9mPKkq7SxSejzuV9X/BVJBm7j948wKzyavAWftAURG26gTb/SG0Vpw0DhZFsQu7jeVEdrk9UDn9yTcCnnkfZCbVYdrW4hbs7/lnNGxsdrU4k3SYw/r7H40luH6O970Cbdh/LX8Q7dqxqR+dRHuDtTcZh6oCxpcT2XJmohZ1GS3Aetwmx7eOozxE+sYQHA8+nbmHauD095hvEaaW4ylfrgGdP1BibRugNF2Q/NdSOKnR+R+zcOeBuEq4SLvYu6Zy27eVIR2ZTTq4tkwJNJJEbJk71zgYEhE3/TarJWJFQywDz8h3Z47+Y7ihCJ0RtG2Gtp6WgIL4BoQ13EAT4NYPcmtvDkaD9NUg30NwIeMCGZJ9ttZrkcgrWA0wTVb2Rct28WSXqvPzWyh18U5E7qqRyT/p38fjDNzlevsxrXk+X1pigSLSPu8Ab8P2j2dlqKjIsgryr2wnT0IfwWuiMF/V5cIydKPbVLxHG7G4eyKg2YocD5cf+1jaBHF7/VBZKbZEI/uS2swl2TsLM0e2o9Xgkm5/0yBpLn6imzjwf3ASWG7RE6fJHXBe4ra/vtwUdxbrL3DELcgVMEM4wM5b8Tzz99oS80H5pJJHgqJY57ZCAcg5cazYbRsTAbdu6JWZllFnAvIT5EX7JATmrCgUDnyMPtQk9S6+lhHMUTFBPNYYtajfX1YyfD7EEYDZkmODrbN/4Mbb7198n6toV1tgBVFMlcgSBWHMAxHQW5XSNfponshrZZAs2SjkE3Ow0kGQfbssBWUPk9sO/Kxgp7p5EqMoIgrvwhQpuhtG1RUH6mDiKP/XyJ0OAIS3soLsyEZSMKcQc1PCYdsGEyPYyD7UCD96+XjGeN5tFGpmHkaDIVqMfHsKKciWQcQfsrEm7fZGbcO5MX+qM2UkTJjaLM8up30yXl5s5t8Fd6y+S4+Fge+rHr6Sl3szUdywNTL2xYLhLe2sowSIaLxG8Ds5wVfA6l6zutq3iOsADkTUFluJePVntnE/XTsKRg2BWhmZd28/oKO9Bzlo5h+5cYpxQzqXzLLV2I2bUAL+zAi7nGQs9QBfkaFd6BRmJ7wsLCOu6jnQfLI7NROAQbGQ5H3tPkIO5p4RzeQkgts9an7JFd85ZHCLWP0tmJUNLK5lT/kV+P8qwOT1+dPcN37L2IPVwek1qf1slAyp+GhmF4S0kzBxZF6TWafprYjeN4x8gqxDcVur6Z4uqiGjn97P2J4Crj7aQ2+UvGqG1wQW7IHZXUSt5qSeeatxwQ7IkPCxZ4sCiiNo7i7eUgA9IbfpQ7q78ygyaoS7635TO6WeztgaDoxOk+/rQhE0FzZkq+fGxIvya8gNwf//RTIyDfpDjY2FV9AsPU0vjMEYYkZhqU08G+PurIyZsVmtOLhY9RAwUyMACX95QFv4BwSZ6yHsTW5mlb6WcIB15B5fk/nqsLRiPt72hR0LLBRcFQlUWEpv7pqkIQv4WWoQ1im8jayS8vbFfOOmtAZZ1HY9Aij+nMl/00LkFFDMeKqDiq1t1vD6aT8iwIF5wxdp/eAFe1I2piZvz5eyQqjI1CoRN694TYBPbrt4jFWCLdBXuYvevloITmXZUgTb39lvp74LFg2JbzHPeCipsJNak6Y5To365zatsELi+uEZdmVmWVvf6BUlfQOY6elpTekEFZ7dvG4k5h+ZAJDVRckdzCQCapoDy5vuNZEfWqtDw+BdmUihmv1mbfNoSblUGpNMX5w+/RazRkFvSQed3UpZVLE89mI1ThiWNSBYgBJF2bRbh3rOpwjYacPrOI++qm3xWIg2sjYgqbP/SVop6OYcpVXWVsGp5+PB9aC8pvZ/BppycaTqX1Ha/rRHv+kxCYXMGw3UlEqc1M+xO5bS+/16LSp0kUkCiuWFOeCw9MNiSfc5eJ0B5OgywKr9xvbzxvA/pRj59t8T5M2esl5ROKOHL3rHKBqg7B1sLwxdmBMiw9XgWTjU4nf+t17E29j3UEMmSzqxM1j0i56qUyozpyF6r7aj3y9Ynl7zo52vLgGYTw3vCcJqvsdXeB/IGNaS2/KhDYjAzL1Y8GwXe6ga+g+P9JT88/GtupwG52VrlRhmf+lCyz7KUoe1/L9gyFozgyc9MnDRali6gsNFnE81JMYFtR5njDyJ1kwETjGOF0Nw2OICDGn+KNm2y2c4fmL1yo/OmjFeHyK+5WBSbeVvyV3dsgNoMVLLCiF6x8PKvxPrmGpJk707838Vr2rETbj8R0Av5YNwIxhSVV94jp2iMFuRs+Y1CHvQtlU8fyvWn/WmZ+EJ6ZLXWTdrD/tfVjxCCTo5tg3USu0WHqfZBip9KMatPxsnJX4jAOwJ3nUlFHxR9m347FTPdYQU4EFm2YEPr/DLyqjeLTOrQLXhnOsI9rD4z4qzzE1Go4d8iecqDqY/wm2g7qqRe+6b6JKH/hefxyfmmtYTMjvDjXF9He0eDaGnZVGWry1KO0JdzoFOgY8hrKCjuWauqQ/yDS5Aoscv1P114gcqUYfkVv6RYCBNJz04YanYDXBz4umDbllSr0K60YnXo1MgpwVIJq3EJVo0OEhu8U4qHDUywHnjUrUqNXDxrgwHG98G4rvlY3++5Jkzlt3r/Yy6te+UMinzuZJbSyxNghotX3wRrBKIvGpO8XziDBAVhoVe5NjNikitCqURcTKbCpcLmYtprEAnvD6ezyleZvBZI+LzhBYUxI6GwA5c5n6onYy42+SnKb9wjXd/Gh2JJ7l7GvaGnMOsgwPBqJ8MRZ3ImfEghddTgiifCPMjPx858ni/U2pDbop9oci9/HhLvprLVtH1/zulBGYNYQUo1JY4scJejSAhK+XfzP6pkox2aL5X539aSVtT0iH+BhibD5AYU05iOrpnX1JbC8eeCHzPYUtph9Y7DfENoS0PI6RAw7YSZfvpFY/vhQZK/+/KjVv2yYnNZaEm0RZMZ5GuEdthg6egmwnia/dos25vRgGmJmKt1IT7jXNbloltC5ZzGoZz0V4StAmV/wH0++o4DkBzhWYNKJMcNpJ7wh9s+aw6jpta8gPosCDZ6uwnnEW74stkty3T4Zb4xmIPuymeTPLUPClyFwPCGXY0I5dV1VymVG++hQk7M3ZWR0qXoXRgYWmdDLcrBAPiPZFLDJboiu6DUPkn9no0tprr9UFTVuLYU3aTNcpBHBXL2REyNNYWsvsXDLZR6z+ATkWvZ+UxxBtpAp9a/RlgJksnxHxn0ykh8cVxz5ok7cOXEYWT1Cx7mFt8QrL/w4RCXCZMy3BFcn6wdzxIk68o6A0jGpKlbzTUBg7XEIjPZ9OMnKKmgrhQ1Ewfc0uXvpozGOryDYjLIp+GfOEgSLD2NCt6+RiTmUaYO4yKEw1xEnhvq74qxqYL7rSA9BtXUVYwn0FZla6jtX9+H0rSaeAnVKjdDRmtJnPLnWtARbC1ifk3qNX6K1DifROgTH5BSpA8R+dHiJuZdc3XRYfFYS7Lzr7zABjmXU+oKSByCroSUIOLnN4dyQGzqclkCLteGhGcrDwHAV6aL3YPb6Hw3TbUS8m/LpK9zbC/oU4yY2Ubz8o40uk3lh4+wW9QrTj3CeOs/ineRMEmTGyZgrLU6nWx6ckWLpjzS1qGbWq3ye5qS+qIanGVhsfK0G9Bywt8Ugae4bPCaSUxY5N/lGtCcNphsmPgnGOXnBR401HulB1rFlB82JupGRnljaeosQ+y4ki/6QqPxbkrnQFRopD2PTMT0A8XInTTtGAPBE7dKrfJ6AHukU5YHHsn9woYwqj3uDh1VMl5ZxVaWREF1phW46Ar80P8f5p2vd0G91YYId72Ga7MaFHFAVAr+8EIxiOqB4+ChCnSk5MwpkzB8yr156AXAab+8cftEwKmr70rSX+wAuIytAzwmL0+yH5n7zhh5aYKndwwMwRVjUiBf5nGTcTU9fQ4hRYraj8CD9Eij9wffiCHQWNKvHgA4xU0gt8nWWtJQsYlB1dL3oajit8akhefF8VX7xEQobp5bAdlHPk9PSDoqyodQwSkqZhDIlMM0bbJO/BvRRJvJCxJbxlZ+/Qtk7wDYc8igCy59Fn22pHM2SRmrPFrjR+6Ll9cRm7w1bfRJXDwdJmN+8xquVi5M+/CgSUQdHXxbvbzADD9+x1aSikuUaHLXJbvPMhfZGNmCHPoQRZvt9xndNhbW+wTHQiFsmcSCFRhIw3I1XJVUHnzBp4eLqw5UGRnJHlsiMtMD+kqfIQlVf+dEUStUVyPqBQIontSpZot4LSPHCh3u24gKPfIZvDPaGnSLgTV7M2VuPuEKQH03Di6C15jsKwoJwpuQaH06tCp83X3/TSkG/dNSTz4dnoBmM/ctw9z5IVRAh1iOJUePVuCr3+M41bcPDVBf0G2Yq+NQz3T1cwMfwrbAohLVgLIwpFEg3dmI63YrE3iT962hi+FYCetNs6PgrCsaqNdj9t3lnU//MLhPXvpiTlR+wZ1I1USu5m4K8OO15768IAbGMgDc9uZfcfHqy5W8JwLSFDewz2Rfmv6I33i6YKBKsIGECLucouGBlAt2U7pCBJLEYRA4Q1iOxtRkAxxweSW+rjyr7+bjwYtlxIOtrEFNM86YwAvTyHtyKTY8Z6+MX8vZhUDiEIuhViGdqURXHZcRGqeJ4KVwzhO0WJ/xoaZp20JDF/ZF49LqRpVtwLTd428rtm3mv+YAfX6k3p0mC82Klt4815wHC85cZojB59jL61l86wuHPDu15bQZTJAPCzt/x+bZ2pQdE9PwfdtsM8Ix/oCZ0I87Wgt1k5R0rl6UnmYEYQ8onDm1uDl3A/DXlNXQBV7olWbEfLmtmXbJowOOIOXN9zN+EmN1v66iyqxN0Rziyq0q8v7xsFzaZ6HQJrBMOw5vsdKUOGOzgmuyvJRME82/tl09XPq+NHsM+AZyWgR2F7AbTcMO0npb4W0Si3+c00mtnUPOtiP3+efUKr4OyAhfwP2bmRPV611OsIBCh1Q2A50UHsl4bUmjVwG0uwqwKIbdqp9BQjwwoY7UwO7faWhrbMxmIfmML9C7gYMlk+RMZyT3FFTyALBgaJ8GiEo5H0RL3FUS9j0QYdbj3KypTE6wuo0EIPpf+U0iSXFLf0BC/3eYmWXmotI7L6tVisEjHWDyd4f+9IyGJ19fc4Hvh58SwCNzDWPHX4opefp1/L5KuV58M+B57jlDCQWPA08PnF/MAgiSXjT+wrtb3ASXd3QWvtrWxT3GTHEathM0Q+Ruh3wE2PtvWtDX/aXhdMSdnIMSa83ADvUMfeagRtRTPUGEaM4r2yovC3bQGzOk3+oRH7YDvV/jSsBHsGh4JNtMjbygpkSACRbIpJ5E2X/Uu+lrw6G5fsMfbaD/TbOADy0Jx6vNBSO0AUHksXbAVaH/WHX3/0K67OOwT3I97w6cw9d0EtQgm60Iju+NEdbO12uXqY7jCgFC4896yanvAv3x9HYu1IZhd5fXkmHT9ydoNNisLrKB/7gMxxjyh4DsQvsBk45pwdG+ZqQlH7+Lmgb7fiqhxzkwElZJSc/CRQmk3UXOoP7IesCICp5XR5SSQcI4nE8jHJeePhDPeIvPaipFaCd6Q0sbfcS+gZdpXNTYGNWM3+hKIoNFmC/NRtynhH9o16kwT5LlyQpl1eWRDnBJfvAeLwID9PBvpr7qafFGCkAVuprAqbiS87+Uy6QYE4h7d/roWVi3/E3Ek0EEoHt0K9Vfy8IQSiYKKrjSFNFVdyVpWJBUwmuGbN2esmXJE4jN27A7XQ4qy0etz/Qwbgyc/GIWj3V0FgmN18AihUa5VAYRxdm7a9qNPdREbSYSlpF2X8n9YZuVmj9csiFeSJgCnu5CjCLS8SSvlv81LbliSKDrgW5ltUglEUYjEcJzsSJ7jNXyq8i4Tu+zdUpJ5e1+Pgvl+b5p6YC8Nca3wqOdrZ1zwsqd6GDhhGElhcxhW5Br7ws49d+hWS29DSAQK7jxyF87v52o7h2g8creRmXjQZqIb0deyVt/httVVPjQonjT1cCZsr1/zu2PNKVQZ6vhpVeGO/1qeSj5BS0Hc7B/yMndG4jSC/5TbJWXI29+Dp0YvuRqbYd7Dlv+UYfo0vEoJKq4lgkjr3wV4crYlvdW4/ETfM39BUkN4JFSLA+hzobQhm7XviRVCi6ls7+UhHQsiblX+mlGK4LbRZUQwJrgQ9jZs2x7etmh0wbrGAzQK2qS5zeLCIf7p1fW1bXRVkdFaeYjZigWB9AAuMjcaIa1wrHSTgyX63ok3MLStG2uwrh9vLEm7CzPTPBKm2IfCXDcUPi2WMpDV84j6SMwQzfBvo64xHU6bjb7TXphroLXy3WvxSph4NsYP8pTr52az+ZbYI6N3kauX5mWjS3i/wfA1pE/g4j3LHz+4G8SjtZn4ZRskFsTVFsOT2jD0tYDPdhe/l09ZXK3vcc9Nv6HeDL/Anh3F86wAc1ToPRC9yYdJzefuOtPi/NogEuvA1YSiMMtxBkEeTne1nXt7RODKdA6msfZjGl0fpwei8/jpNpVeATROqtYKM3Ik1qrny00ZcK7TMEjRlMIpA+eaOfP+jlhCKvG14JBbOis7fG3oRY345AdPEXC0LouBNhiXfK/jrFVDDWTCAogBKvcVgUBNFf0LBe+a+yLEWBTEElULMElD7I0y6/8mU8SsGlQr+w672J2znBVWnRdyf04ohVUXxpjX/K+QupJW1sSafJFfqcHJfIINo0KEIP3OUr8vU97gcPz+a316hivs5VsQFw8ejI99GvmVR/9sqSRV9MCTQ/PxHJC9mPXbrRz3bJm7xRes6t7mbo7r94tvYg87QZefHubz5H1yTw7t9edxvq3T2WtXDSnopSBXldePGbrniUTJ7HXSkF6CoYnLr6o2sObDW1ilD9yS3gaNSPNUd8SlsKSnskAHk7XdY5ruTGkpnjsS1+sQu/s9FWOiCC+65QHt0RVvlro8s/g2ZXPuIJ4gjSo4rYaQeCEx+DZc4nK9+I5+ijzdrxzmJX0B8IZgJR++KQIpvhRTvzBCX4izUpKp2qDJDt61FVOm4rLfOLXwgUhx2gqZCmBa4IDsRopOxj4aMcf/nB7IWtjQEH1gZ3sUBiOpLpg/HzWdz7TuC/Kxwp+WYVpjoFfmdHQUx5IWgyNDAj/cIjfZPar8eyrTEYtSynKDMsEXar4ZaOu9pT01cMzPrdABdWM1P/obH3PRk91SHM+dHG+JXy6u81aEPpfo79gifdJDWjUF8QjgzT/BMeXDl5MeMuZSTiEAYsE1gsqz3xlssHVg7wZI5sbaXNJiSmgpYX+Wv/813w3l7ts7t8fRXa3NKGzFHcQkACpjIDpVqX+HoJUXV3LseDPTcHRDKYrqW3SfFGWw2BTD+8QftSeXX3t26NPZqKchoOTiYLwEk9OuEbXk/XWFJ5BRwbuGGkr+vsxQ25OFPTdhQt/OxLXqG4zRATI41teJCMOJKaS6Fn2qmnZMA5WT7/l9KR+ogUJoo1EEj5cfDFUBlECuEiYuVvUjDVs9Yz5jmdvyO4TL0/8Rk3jw5GHmdUhTfCe7TLFrYU1WUAWcv/lbFX+oxwsIrpROLoNgn9y0ooITpiO0GZctXpxIwmwNutUW/3CWvfp/6S2NMn/oRRehRm8wggot8wI9g5+hH3i+YDXo7KtxQp1Q1LncKl/rvgKjskFZrCsnqZ9soxwlV2zEjWl6OtBJJ+MMwnmvXAbMmWtkxERJxDPujQ9MRCLivZWAqVuSXgEOzol9J3UzBsjjJ88BGgIwD/8O/masdfwqM+Ea1mbAIUXwP3RhN0wZrZFsgk6Cxjlk0pqJgs5eq1/2ZN7YIVN+Sw75vjL2vH+vjI2iXUzmoy5Bmo7wJ1+GcjjPO3L2SvuZ/A499BNXNKD3x+Q3wqkSpmApMEz2diQ/I8NXsXJHJDLOdZdqjn8bNWEtHJhvApYn1o3pLHoW57PGjWIGmTUWtxNrX09iO0wuZ9rBOJv9Sod7u2h2AowdaSuAixq8V/ni1Je5NA2VZ0B7XU1HxpeYgZu6ChLuMEr4YZuNfCextPW1rfY+/Yens6rOt/clbm/eAtS8soUQkIbn8zJ1kCtjZlXbcmwAbt02eGWhGcdvIfvicktg4Z6erZH12Evi+O+WAg78ACtpft9hwYNw+RgUer8uRQegmEgV7ZyNjhAZh5PkDJGQAPdlKFld5IKZ+woLTMb3An6wV2NMWG5gza1T+O/IIL/gw88KM3HSya+IP9W3gE7NxaahSdFxAeFl4E06p04QvmhnW3qT34+adVoH1Rhzh0/qN2JT7aRQ+YOlflwC4EN/XNIkc7I9GlTnEnQoDR1Jf8PpLlQWJ/9ZVCzd7PhCF3cR/yRklm3F1BBcQiwnIjW3pIdaiH2CPjntopg89ENtqakMkeFZus53nKrDzjEV2Q9JGJzkjL9IW4Ote28XwrEBRP8+jOU+EqrK6Y/xQlnCs0vkc1EPFcsgKhzdZCuZwvnuprbRZUZWpzEy/MVq+feacfp5lioRzxAeQcTQk9SYC7IIWIfQLWyjm8176JRWZiRZzuy8MSi85qP9O5nGzB91TNDh929USoipCuUykqAuz/yJTBLUb6nqtkDCtg4rinYtkVseNK0rxJOwnGd2iM9aI1osDav3QgJwP+i5U7qblVygyELsLHcNPgK5I8TckYcGiFGFvS3pqpu5DU+AqEpZab8ix9wBxKZqKkSgeJEtL38bfn7ENyNwPlypGh0oz4N6rgv30xWaCHnSeEZsrI3gNc6xtdGvxDrSWwQjA9ZkhhXYSMAY0IW+BokFM6cNsvQq5ApPKpNQQ6m/BEu6nkvISapcBbdQKRSiFsZvh1gGShBhAfdgiISpgoKV7zB5czCWv8lV/mgztgOzj4TMfNCsyl1P7AzdI+TcKmnYN0pcaGOvYao24Hp1IxMm5DI/5ESzU7Ujn3CTW3RTyMncfDozhVD/M9rwDzHTLCP4/8eU8oYWBUw4FZQQZuLhUgN5ZyCa0QoywZAB+tH4awRSA4+wjhOPQJfA96JxtscfDcGk6XT83WFm3An/PCYpEBNJfaEmVSZzFYcfFPIO3GN08uXeyiBqVh39Td3MAY6p6U0JA6HAlmqN3wo/ig9JezGhvVkpURWAAn0+2v80ncOpPNm+JSQz2zKBhHQVXEBrRa27SXFLldBAxFMc2bkTcWjFF9peQSNmtrpXZGe8Tt73I/8zkCoFhmahgQcXz/G+4uIyggbHky1akgPeSmRa5vSi4NKz4OPzg2Mju/1g193dcOFQH9hv4E1KMXSRQ/GWMuTmtAN3J9kYRjH6eqhRDqng0PiQI5Sl95K/RaMWa6w05TNnUXgZQa8zLNGZgER7R72TRqxBH/amz1mRvNvZ46qJ2fKnNPy8Jp15PrG9ApC1CkAAn356eDWPM2liNExLq3dzuYbmZOXXymwQ5qBy3POymYoUySTUYxUtQl8kdPPO3VrBGetNwYDs/jgGB5/PslCHTeIFFlKldSbY4fazBihj4G7LdvRc6RHMuN+DtRYhKmGlKcQW6Jp5FVxV5+pd4n+IUrweBBWvGxIWR7kW8CC67nPnpL2oM8veBOPTQSiuZzvAWIIB7+vKKMC0WRrzKwjwqBAa08SbbVddFraQfLkYXPlStF+CduXUbNFnypv3wyM0iIPBjx3z/K0U/ZNLs2dHIDydxUEVoS+AbwG3x6PhKA+m+T29CRdim8ko/rsP6GNYi/E9AHCPTVAFy3NY2vLdkzNrix/7UNO9fzQdnwGHFPUMr3D2pRKT7BJ/BbbgzSkTMFXnZyuHVUaISYbS1ABXISzlcqvkNranD4+j4njp/8YNFXxD4lT99GGqxryvo8vzZOsEy8qc3TKO36KZTKYPaI/KXYU1EhkIK0hzN/i2+OfH0yK3sSgkZUJLsarEbbUTbskj9oKDIelW+rdD9foj1WE03XjqOcQjbJefWRvYD7GGb6Wc7kREg/Zx1pch/bnLfDeYd6onGEjKsgzrlN/88Bn7JBxxofE7TNuw9MNqiIiqygWOyVYQ9mrqRsZySqDpNHjAZJiBVWGtGPIeFsR53o9039TXx1z6XtvuoM6DC5nFQ9Cmvr7j7RZ6MBXiuxBL7Lptd93ZtoNAHfreClaw119e0JiomsgWAPQ9hfmft/GoU40cl7htIwtebDxsMnK5JdXIqEtMILeJxZWlPFbOgawpPdNmTqAyo+VSE4ce8+qG7LOmDEJ4YopxRp2sHtNFGNuzOuEL2j6F4pzqS9u4XXuFdZeRZNIqWj+g6KU8xGbp7MF3y2bbb4k6CQ93kzgSrivgAdbAj7ENHWytZVM6a4oZsniSgk7O9kzdyMNTo0TixHvJhoP/aSRvOQr4LvBWflEJwKysKyBD/5CgRepAGe+qkIY/iqGr2+Yv1d2arSNe8XN56QdEBZ/M0NBGxtjVi+Vd4wv+OFAIYel1/cGwJkYqoSbY25Y3zGI/6qwcN3jIVxWoAr3HeIQf5uYsaiGFgOgs5WNYhtGNd5gq1me3OxTyHON4PYhdR1CLwrFx9TVfFhPquarY8763muUZgM5kEcHlhg/OZ2f1EIAOBr4S++Hbc6uOxy7hkCwyrxZBR18V/4opiFE/1oMXm0NciTXNcs1+Xe7FYGyADyShVpnAFiZytXv5hEACsiHgUBRCk+75vMCVdpLKtClYlsN3dd4RUnpu/LEoXHb30AchQx/2oSC/22/xrA2gDoo1SOEcYhrPyltBMOQMOgWI+ZN2/bLOi3hB2e8W03WTv1PyJgjapnwi9Z7S2E37KsAVD1U8bKXEQz+I3T1q70r0xLTfJjS4nrBzdlmPis/p8RsJIwbJv9+mpQAbZou3DON9uHMi3Kj+/rsPeLK4vr0s9c37jsaiQE0pjxBkz/8wBUKmXDmKlJnOoGE0upLoZHTX0u7E0vPgBW8a5DI9byqJPqrHyAnmcsO2sCW2oqht6ObBsuUStEQ0yWgoWtcgSEt+DqwP17tLYXIaGZWJ/4ep1i2MDVxBF+Np3zeXPmO3UM4bduDsJthHIP9L0ZUPBj+6oYYsAWQda+b0swiVT2Gkqkv7IlTF49k6pxzRT+/gvN8TO0zPzJadkm+h2MaEjDPdEj+APUFY6S6YT4KjZSch5GDruoxVGSqxp3f2BLQg9xFNwoRrmPABSMPX3n/aJ7twlblU0lDK4rhTP0ni1W6onmrhG4Y0QmQHCIwNo7bUw00AidGwP133C3bhhpqdWGjLjk1tdvpRWuJYl+LIY/FD63yJb+hseqmZn6hv+eO969g3BktJ6crKbhm3d7hQmglIb8MrFz39FufkBcshS3u+0oI+Et8XyD2m/0vTrtg0sCkEp10jqtwe/wpolcX32bm4CfTSOVwG71scgFSNiNR78H+wm32zRLyP53gUh7EMZEwls+GjalfMVssdo1xw6q92ZntYOadgLMuUyJk7XDuETHJMDr4LAaCpbmmBCZ8PR8YPQH4PY64zl51jaXtviIzJuv06lOHiMGVTZbxoCeVtp9IikuQPehoKrawkgaY1qlpbSWvr+8BMvO6bRdLBF1jog+BeiQEh2sI8462ntrV5kxb5K2KX+QCLgHbN7ywzy5sFW3NC4IUT3CIJXx/p7uo/eY8t23M/5RjAaDRpiU0uuArPnN5KsDoVqLHDVDKiCl/1TO0zDS/Zcjb7M+XHPGwzchVmFz5gqqkXT0XBUVeBNA1kxt1F/gjDgcPnIwUhP2kRhIMNVs5KU1JT1NQuDwWO2W6EDUQK7da4PRHZobyFvvB9WvVwyTYvFf1+AuOTbGaYPGsjF3xHSt4rx7+X7EAw9eTJCLoOrhzugvfHGCLWtibFacA3G894oU4erLNTzl7CWsqRCoAM8J7sIL/NbEJZ6UlIjmUYx2dqEEiBMGm9vUwqTocv40ULLO3t/e95z0yFbu07oGN/kYo/C3B91JaIdBn/wWi3Ht3eH4hfSMbQyHE7/xa4tvrv2AjrMMfZMRZ/PYNJx1ME3dNLrfV66J6SFCuaZdsn9iIZg+yCvZrNbdpDkq77zb/E8b8n4ONteZJYmiQiOPrUlt9pZSKBl8ffU3uwiXM3CAvu+4vkwVk9AyVW14Mpzk2D39hZkl+IpG3PXowDhJdK7D1SEMxj2DzfqFdz4NbyqGCRZqfjTGvYF0AuwPz7eMnnQk2pmpDvS97JzYGo3TYZ6DZEGknyTnzVE02hc6orx5FYC0c0RRZOMKhHanICGTc34j/BEYJVt7Aeg76+9mj/pIyzhuq5lePRE8J00034n96vFpC9a8+mCcXkwQdnVVgEYI6zZZIIGbJVYg1uZtxA8e/yOQR5paWaI/lCjDQYgFB4l8ckQ3fppNeu7wgy7QQeDQeUESmjE8bcbJdchxCM2IfcEP1Kl8QVqJEwZ+Sn54umUVtYH1vUcQfOOW50f6EesKYlj0an3mI7OtyF7RsZP/CGVVJSmRCBRA9QZ999h7uW7FHw1RixlRTBhO8VNiMTZjB+rHhpK3ycTmrocoapCF/FBvJ4ozxBTYkbGByN+oJshUjfxo68g4zEQZbTj/1pwYz7fFn5dtb0Sz1ig2jPn/vPw5QSLBnaupkvl96FbwssGk8/Go0A+oChDCJn2ubEsyKDVKULqELbe3f+4tyf4LylM6pHQL3axqya8+1MUB0X00N0FXtyO2UNfJ0ynX9PKfGx8+pvLt9P9Wq1Uu2TlfmmNveggGB033tuKgAbI6wfmuEm8J7+duHEns80QUh4CNgektIbnRxcIvTlXQDJDbyBRr+67e9TLnjM9SFh7sjGDtEK2KFQex8USvu7Nzy2DXCz2oydQhNgS4OesEQ8hk/+5ZHDXp0erUld4VBmU90rw78N0s14QNmzu3/JyqCMAzvTjyPzdjuhKVVwItVQak3vdhdqYJrHjyTI3QQrBC4iqOYVR5geNRE7Q1Gju6cj7BjIe/ninxfQ7lZIijSh/bWBcy7aCiLf4nq2kF7OzrYgqzpQ9GM7/9ZbAUZivudW+/oLJPYrdPoESf/tpMjB6+toXFO7qlFsxUgQMGPKEy/QEdLD65ABOPte0uLKn5RnoLQu7/4LPlkVD3m2NHAAbiq863JDgaOJbo+TlCFG+1P+lRpUWO3TBdXSzaIgbwQ8xUlKz1T72lkeWT+4h40vLUcKAHa5o0F4V/225V/O0SE7zG/lSbGNXbiSsAqFUArz76ETJlog7Fbsw9LUSqpVNGN9zOvy18E5lA6Vw8ZK6qPFGiGShWpyaepnN3Ekbsy5i5txFpba6YJuB3r9olJlCx6N0wnw0BcU/1h25g5JYOND5o3jD4Pix9glyWIiHMw3YU0rEgUixr2uRTKE+QD7pU5Xove3aql1C6OmEPwtYb0yrxiTn1F9qmWs5M/d7NGEuVo7E82a3ZZqtXJAMAYZHMtFyonkyH/7OpoFyXpCXu/5Ud2fCLcx0Lm8wsw6dxIH13gL4qlVhkmqq5VEZZUR7FOX7nH2cOSSEgZY5NO0BfvXb8AMuuuuMHQIwPtwz78eiXc+ysls8NoW4QefUnQtTvrCIzhu7rJ0U+8mqAi5LXxxvOoqYp6wfXh+0DQIjSxglhdAikUtcBb440Ll8iOYbhNwivIUfOfp/WXtnswotZPCrrBWc6QVoXc4kZonJRmdgZrpNXtFsBIRATx5KzgSy50E0c+Iy6o8tSM87nK8kB+iILoOhyGrbClYi2CGBU9SNky2htK9WdxtoPKr04rlpqYKwd7EvVCwMROUIdCaHiwU6fQmvhxDK5q7UxzXR+2NZLo2c6l7xe2ArGaL8ULLSLutz56PgUxCXvw6zsuZJQqxHIOn6PRExILTvqkKcL55NhKUgDQpHuV7U0xVz0u671wV9z5E0qb0mTzt5VV6gCbq4I3rrLoyOuAqumX5Yt/S/n2C0AYrAFBo2y9O40Cg2xKIrxmItX/6XEgDxlVfUeQjHCF7agU3UjlMHLfOmfMpvigpM4zt+ValAnE2Hjrx4GFR2/L3VkuPxOxfbdAO3Tte8YwJL5VRxb14mRrVVDKtj0NAD4QxxkMmVEVwD2zLRVphx31jtSr0hZsiUtXmOuWSBznkfXgaR5T3KqlgSMydZj9vHFhMdFLA44MzKOUkernSiIjYV/Bm3iAqgHv2+KPncAEly/zL6RlvZrij0ruJzBm8L2bC667UXgeLAKTs+e9f5vqHGMgoJowCP1OtH9ubpy3ua/Rn+1DCF2WWzUe55YORldej9mdzjDghEjB/KHkUqLDXqEIaor3+CQcFpwBui1lrkXktNn9qD6kwS2999jST7hB9/0Bm6OrgUDqCwHMBEVt+RGmLx1FLsp9TQg38izTlvaSHmmWsAda9ucQ3/t6OhVJw3vDh0ySzi7LwBFDGGzENyXpNsHGQAj3vfH2YRmKJvIDJblTgn1O0J98pBL5OJ4eoo4yFXDJZXO2kKttHKUVoMtXD1LJU7A1IZhYa6Nvoz/B21BdiwLAZ23DqG7LE8sFRTd7m5r948KqeasxIo6UsaoZvVdLajwiH0hqdy4qC5NXfGPdya/M18Xvj2HhWcT048KIkRIuARBTBgtnLzBIT4KNJL9BDp8NoRxExf+AMlG0VKVROOL5oxQNKrdSKbxi/Acj+eOfTjxSY/E1JTFm5HfuJ96VzbtOAiq4fDzJwrJAAtcEVFQv1e0bE+L8z8GmOUPsum8BFqmHp3HmGOa5Yqlz8kqp3BULRio3B9ca2yZDYKCpfLFw+73ZjBIMrYRSC4SToGvF/yNxA8aZ8OrjEjbP0pbnEWOMgyAQFVH73Y2EhXVw7QunIB1vB3QzNgcCr/cWuwNG4w2b+buqfcZSsK0yYVF7iLNMt+rSgfeThEEy5OSV3Kv7oh+5i0jeX1UbkqPjk/lb4jmQoxSnPQR99z0P7eWkwFugwRdBEWkEf6nqOcdg0SNPDL1Cqmmsm8/AGtIwGPb/ORdaFvKehjM+Tkw5zC/tTz0Oh97h6HeMeCE4NiIW2k5HHtueBVxrXAxFQSFiDzu1+soiBAAJc9Gq4OGlT1ek1Ew8AXd52XG2/f2+OgwFrGR32lgwb8ihnmuwkjgvNPzdkxY7TQku9RIirHCkg7wHBJ+Qq5twbXhfX7wFrcsDB7wEgqU3hbElm9qalbKhjvXLuScuIWp+lVX/FlnVzI5fk42dIQQTM+ta/H7XV4y1qmnydygRe3DiWFaRqn2bS7Ahkb94fCAcOOqov5qrSB5UDy28/mqFgW9etob2XAlBR+kHjts5pPGkHqAD4qGNCH6qvBhm4g5+FYOKC3aoZjwB8Fk+t/1XqUbCxb1dh3glOn0B6HyjCvM/Ez6WxqWoyUOMjXwKofz91aC+KtrfUBS3sEwXMwzLYKRet4kXuMvlKt22XF/7ZDLfTl2MXzWlFl2zKpNxWdWnecSH/zDLq96Y9ot6H6/lC1j9ZrYQNnSPrRA02YxK/2IFIIf0J/Vpj6dB9QmKXzmEHGt9YZnEmiRtI3zUS15SlYDKTiv13OCLvyn2YWE0BlDKZ8IaDzZOFrV5mCVy7W4NEOQhlFThYWO0N77YUDp4QJXYTk49tXnUwVB5a+dQDpKSDy0ArP0d029RzkEq+yAfRZf8YNkJ68rTAe3aK7/9tkRhe3OZKV5VTpFnt2psKfhHztMF3U456LCX8AVKLewF0ANn5MxBThymic4u4eEptnNULeacU95sEKwi8t1r5m2AoBeFwc9f4xGw1Xu3V3QsbfOaWD4J5Nhmt268g7PiSTdqOqMzQlfY0GQ+nuJXUxqS37o5cGjX0TJiPiseIdWPzfl14kD33A4mhfrei8cTSKaaWL6W6fDRDdoeb1vTxHuzpoBMrm959c2MSW6JZR4/Jxo46SuYjE4cS4HRYHh2iXYp1mMLvcYWTj8vcWUa7a8To8FS7oWI6bYFBvA1rFMkdDbkARn++cF4GJVVKc0W0hHdhoj0usMaG0AvNo4wYq+N+xNZ6KYTMhopn5oCLI3wLtSVA1VwuV4sib7HWsgiCvkXOFNAyZR72Lz1HwE9+rDqyOWPR1yWoAijfTjOAPnp/xPUfXO86TTSRA0olIYD+pFUhh4pSG2os//M0KQtDuAqxy9vFZSartL6xCRBLhONn639U9VPFr/RrAr9fQhWxQG9mLCd0L8xIRtSfU+BrosLtD+HR+K54u0eWEBkfbyWjj0ooT731royKACsVJiobI4SsYFybySjNyquFjC3QMWcKLb5RiRuXKXl7osgtDFd7lEsCFrGkHYfS5gABeF3jvb8KdJSkyktS+nNEhov46YjU+8BGLKq+nQetTl9Xf3dpMii6egR5ToERgnyGkQd1PFDOviEoSG/VQWYGXOITMuoMeIu4t4HlBBQwImlPZYUAr3ftptky6+rMV5wlRhMc9jPv1KoQGk/MKYxpkHTJej62mvSIVsl2hGSiLENu4Dw3Mza9WaKyWzsAKOCZ1lSkflYxVC6NKgK/FY3zBM0Lb2Yg2YCjTMBUC9nPm5FddBA7nd3VRx+nB2J8TW4kBUU/SBWQp7DJalHiJz5ajKttwo1p2PRE12x/izhuH5ZJmArx4cZ/PtUpVviVl73wje05s1AmyZDdm3VhtMYNwiARWOdRLcaHqu78HEwLiujZgHeZOTTMzDJopAHMD7D+2B/+3i2MXCpPsERsLSL1N8Q8Eddl4KbbCKECZcKxMpf0dFR1HbHyZGrmT+X1E62NzeECPqdL3SwuB84RbtLYxKA1UwiD/m+7bAaIIzJKgldSgBLDUhCuUZ06TnepCgkbakxrJCPWqFyWd5X2Tz/T0Eyxg4uh5lhwlG3dywSzAmCLr8a7JLfbHvTioZmKUra88ZMvzJJz0fDOmRw87Gi9pgsxeJrfez7bOeezt7zAe4zGLsPW4GnvAFEyxINFOO0BCYtPPTVbyYUPJkXEGPGQIUZdyz3DAp6jz/Ys0k7uRQWPEa+Z9VjDkXpRutPDZjXgcF4FHAxA5khOkjfBeskD2KCV9/PjzDVqZTou+2yiGYlowMBZxue2t6TDG5qgqO29s4FP6sO1RJ11JhXzLmW2nae+b7CY0kkMOmbkaFnxNzXI2sX1jUnJL4FnIgwMHrozq6vLj+YCiHAYYqpUYYlDneJXs6VckRUK3GEb4YHWQssQndX57FWaOsJ3zPagu9TY0VHfOHG7NJB6NAcuEcjL7eCVddmpA+8n4iXydAhDxudeP0UBmIRJF1uMkCq+MExThHPPA+ZsYNUdyvVSh8jsWJ/efjdLX8su8cjH1mmwAWCJ+1hJwZlca7X3lo/m2JBgYGN2mULFxetMflOo/jidUyDt6v/vIp9vTejyOcWbwzHwipWFv4xOo/cVXyHKD+8hvt61fPyXAAQaBeIzUejkmXr2P8HOoOZP+snL3OZwHq2qX4HsqBE9nQtZXTro8VnqrvdpS7orN625AdQNHaH+3sfjq+eB2fbqs31HhnRnUUpGICcd4oyLkWAewDbbtXAgnMNjOgrCL4ct47J2LGM9/O1sln7KxqImLjpcjKzzd99OK02tBeCuAu60lGYOAdDk/XLbiA1xuX0CoZF4LTzzv6IoxMRgxRRzqwTaOFsFGZxotosECsdv1fYdACveXaGNzvrpvtCOTBlD9+qAIXmeCSdztBpqPCVaXlA2vj1eHzLm143XGeEZRW55ezK7E8Z4j6149tWbhOOfT57KDEATpw8dAYq2cUaR4UmnwAmfZu3BvPjuoRheeMdYkoAPxZLagVdQP3SnZfDmRTRMjZp9ThfXDRE/Au3Fkx8bbn1GypHK4GYc1msGlZwvnXO3LjqWnIJKGFvopBalXTwskswuL+JWi+m0Pt7xPKwn4cVW4RjikYfCigrVOzgOr9bVKgqBq1hytsfhduQqdDsdgQsr4T/eeMYQB8oP3DqyKTG+IrZ5bFyrfrCVQWlThovXXJO9Yl56o5R4b9PRggGp0wB7OACFq8/DHSvIKlK/EDJqrKy9AG3W9mVtiwAG9Vfa00YVrWyCK9AujCNeXbSv7hLmwlNptz4w4SvWlNZdWE5/RyAEwfd/8CkboHJp2wbPzuwW7BmQMxilUWc/99DgkclORqc+3TGP8Hj0WXjAzz9DnB6d5cTnKlcOU7KZ1nTpPp2ZAR1xgZjQK16FrMTBPDF5l7hI+h0c5fnYv9WGNqBmaZ84cmBM5duKpMXdLSbFK6MIVt2u9rJKJhYoqjg1NdrzavQPejVrccHPwynwpGlnnDwYTnOkMaUhbdO41S/dm4NgsiRCySO31ntm8b/fjUPlfr6r2GEyaFkghb7yh+kBrP5fWm0B8T0vLk1kWXbBuruFpmyjSzcDmELjn8WRqpthz+791bVELClT+CLCxjhIG4ERxD7viWjwpQIQb6DbCbGWopSLRWx7+5FbW51N17XuYY8x/4O3moExSwo/+M8H0/sMbdue58G1m+QG9YAvrR0dLESqB3IteAmIQJ7s74+URfA3km9hbjIatjYJqFjEZJjUTTelO57kEy9X+rDFKyJynPieaWeZAUd+QYV50Xvk4vpE+XfH9qJdTMaJvJP5xRU/+Neg6jI844VEJlH52nMsHZXJ4l9muVkCo/OkxxXQXCaPvu4vr6z/WsoIryFHO6nQ6gPAKjrM8sOA7Q62LjgRqE4JV63bOLO1Q/9ak/y4BpbX7pwxUppftIMAncv6zI1gWnrr9JDS6//cUS/acBbTjejdyfgWm+Qp8yCM5TeL9ANcPr2yaEmhQV7KQuqG9Nlc05/Uwrhhxf6wJiNXPSjY5NVAdj9TmCxew7HNO3eC3qLj2bNXEf8JEXT8JJmhFn9lmeYMMzOzWD/aFkeY2gDnJkRZoUqjc1vDmHaD0olbDZwmE7Mi5LG9Enip99f4cRZWyYTBhF4AphsBpkTtC0BgvWB31yp3lvue+/I/xMRAxpcBfvMyyDR7JRBouq2prctmXMlg2qMyoU2bVERQ3TxqIPtIskE/ThmJcGWWCYOAe9LXyg68M0znlIGBbOin8FoaO5syQtqTcJinOa+Yq7wYCIY5uOaG3ROCwdys8C0lgJMf0MyteXJymjZdv3LkMz5wC46dunMuynklYGE+TwTj/z+uzMM5CQiowH3rhUHde0YvvgevT+aHgV76tP4dmE/MGdV877dUcIhU/2XR1Ke2oleM/f2n/EpHDSTTLP8HDeAmDmixnRyIKH70MQBoz2r4vR5+EFNomAgN9xgUmH9TSd+6ve2QblBBlqkjaK5k87tdw3YYe+Z9tSWzx2trWFiAZXqmjjVI8mrXVnme5qSUeWzSkGoHhnaBDWDXbzYbazm9ilMQIQU/yysc1EG3hXUdjpiEBmHvQBUOYUe3gcCNF4+QyAgO8O2NQ6DejYD52NrK4zarOJbBjfnAzJ92lAf9ueYbGzQmJlTUOkN5eMY4b2nUlX5b6wOkf68oxuGEVw4KHHFRnVtNPUsHbcx3cTHb5MPwHQ8Evy7JhkUTWTATnosORsrGL4JwTKAfXbTZEVDbEch0nyEJX4kbRxSV2I7GLu4PJDW82ySsAbS5uvIsZkKETm81lvxIdabt6hAKvPJbGU0+R6qjmGKMYQ75HncuGBIAJO276odV3k6Q65FWCQOm+1MPGkByGwm2/sB09MWza8itO/P/+SEcQFqX8C1eSQ0WCFDaQcjJQNBNNZ9C5cMRcTjvk3ikx56Hjm38aq1cnD3a57KOdVZzIFZXg6Tvyanu2CVMOCJcgRbVeWMc6yUVH5Hgm3wQwvTMiTpWsXSHBpwyGVQajhzDjbzm9VuQ/KZbUbSjfAXimLRtPNKwTODlLadi4jcZrFObLXPKWf2nsH7iIg0kF0Cjsbiqu88H6V/t1PGqkE7JRzJ7Br5LTzDxL5EoIO5QDuA0BgY8tvDihDdp0fRhEHhMpekaJGBeMV2htGahm3KlSAH5VPDkNSGHRTnCHCZT3p0O537POjLpV9ixtYpEuB+pieMPP2NCl+l30CHbj4U2WBc0oNze83BPokFjPx9WMGgPSZOJHyyaBHpUWUsPyVGkTN/dThbvKoqgFNRiDuh+sf6JxOhaKZUw44ZHyD6gb63YhzNqQjST2ICr1r45iO9WyiCEASiabgRDJl92LjZB6U/TQ6OPGRPfcFWNj65pSDCAIxp2CytOymWxVtUSTKqJuhSZbVRnx3e7mNhLl6vP+ZNRBOb6g6m2dd1iA54QzqL+/bfeyDrIkVQCTtGzpLlFjsw6JOW5/I/r5g2klQOv4YGrwL5qGebxmbLYv63QVBLsAcCiMJpeCo4BthtXXEsch/RnLNLj9STWsk1TyGNqP5mWY2Qg/LVo11kpYAa8QfqUYWQgZyKCA5jQ5ZJ0gB0zB54SjLKIrN6pGbuEgG+fodySo1g8FYD9HAxDKqx7sdQf8/qSEtKkwnrpmiKyGFeeMmQUrgjeSsgf8S5ona08OLyziRolKzrA4r0vGOmZ8zwwc6fdMOXaSn9iOMjRoO5nC+bzjVfknzldWTg8/jIT8TI5EauS/erre6D8zkIvD4nHkJ6YLPsmRR+2PcHy8dI0L+BdgGTafuIOpj5uzb7iJdE/VK0N67S2PZFVxHoqdmHwdNsYr7aXdB8gEBhj6syCcx5ljEwpc82L1Ldtf21rtNSl1B+Zo7NEBdp29fieMH78hELgI1B85UagrWJy9N3Uo1oTcWUHYB/9QGpk/Dd+o9hq5gflqeqCfr8gvj97M8n8q0t/KtcaTZx0gQ4bPRRsfpBjyP+k+XITThkF7amLkaQUBDvQOrZjbKJ6IEskis6D52NG6V4i43kwb1Gt5Hcuq948QBIRK4rWBMpzPLtgcK0lTa+eIeTZYMUzPkAgGtpSD12rDExPMjubCCmAQgrdYbPorY/GyhDoK8Uw9TUGcxIowB7WayFszdIIlDYfe0+a9dMgdqTUNBLjC+9eCYHw+E/d+O/7rjka60I12e5dzkerK42BRFMTRdP0p5NIDzeX7k7+S+5ujcuAP9TMnnIN8Sf7AoLiULMNA9+wX10fw1EcbhPoaUpvx9tzj8kx5voKVgFHNQceoWXVJWWsTkAVvXOP4xRJmfsnWSO5UxneAxgkuE6zqH1znRffzXQvyYB+fDYMr5kCuIrhHreHgbVJLmIRLhEyWp3azXmRYQVA2ciQBXvJwgLdnluan1HG+huiZXt5O3sfGAazibHY8vWLBbUQ2zEZsR5WhEI1HJ+ZM0cAiBbkXEONX0jB3LGygpS5YssgILvFF0mnI6KfKihjrRCzEAotcs4urKPVy78r+VHLFEmS3QZ9nb0VJzafxervHV+rvyvNkVk0TOipioWsYN352m2SVZ2yqOBxPEGeHD9hYIKU4N9O4f6kiDeBhXyclhokGPzFgW0qp5eM7XQgt6aHKR2PrVnt/ww81x+sdkC9x1URD9cdC0JMn7I7AhrDqb5ACaa/7F8xXl/Lp5Agt81EJGemUcxWCksEcb835MLn4ciykGXp8K7vwZ0SAAiS5plyTG4ggBbjk8yXyl2gYCtTFCviCkEjXbe/CemADy3BXcXtpYlxEy0pkUX/bYXKBxA7QFzpU6uyuwFuXLsZU+bnBsWuw44cTaW0Z1CMH+OE6Tnd/Cw4ptUv5siqhKC0xHoF4ih8MqEZSCS9X3igbudJO0qc3BiEUdm6BVtIWYPOoK21HJUOQ6v2WuVFDiOXrCJHf0boa1lcdNRrglfP1Ddm1eV7+lcJJOT7NgW9yCurlEBbO1/5VaFf6ydNK3v4Vr4EXQ3ZGHXPfgDe2gES/o+mxeOUCUATjCySZL5XsCUJbYR5bUwZQosryv3cVxswk4CTG58BfSF0U48ywxOABuRils+jmgtpJ+0YfKiww3e4RKM4fWw5qUxDwAN0KHseJ5EX+0gr0SkWT9avNzF+1rxYbJhIwRozTV/htksuM1uAxyHNlPk0pS1wytEeNjmXK2g9TFawuPhGz+IlFAg9d7ZdBATIlSFEUJCSJXegt+ZJGDWZbyigA0r20yVivRm08psGKgImcz/f7rgw71LbADRJYdw5Vjtu+5QnXoIr0a0w+mGYBulxqfdFDlkkHkG9BNECpnympRYj3EUQqp+ZuGHxiiUJ/J8S6nSrpDqeR9ovnvE0RyQems9TLBtI7hPVI/nW6cPY1EcW5So3jqSq+TLAaZOgsx9YYErQgmvUw2pEWTiYg03MUccuMP+bXBg17VapQgLLhSetN39wF+WfZozq4qysH1QwYVjA1sYP3HoHU2qhIF3rKfeNIhIJtH7mPSF5PZsNtYWAYXPFnRFZK3dwVXUjoGLmBSOk+VMnN3YVI7elrULwOwef4Q5Tky4gZcCmZn8WdM5NyAiJcSTki4YotrfX2eImDSudAFtoytiqVO4kJeChy04CEeuanG4uL8bHOzWFnHcMHtyHy1hMG60OE+6z1b2VDjyq3y0L8VqiIcX/Sb2a19inXOic+rcR+wGj5cwvYqnCaDjJrlhyAd0I62EcQZ6V8ivN6HBwJIOpYFUSk3Ta3peHFVlJQkrsh9o1VU5aOBrGOjcGcyMWbXKEui+6csb2jrX1JpxoUhI2mjET2J/TcEUrj4N2LJmtu8TL9eUKFYxY+51g3R5rgsYh2MDInUJnye0c2aftWA/GloGmtxqzrpmnEvRBiPk8JJedtN+yxBmZtchD55UGBPUiYIevN0fyIsfoe3U70Uy0V1Jjp2SgICVH1U96ALaO0qIj+WOnIydyQCyRRPHboJykzjq60Jad/3WDepifFOvLC5xBZl8BzVuFv9UyP9mAzKg7v72lj2HtX3FuDvcJmaZ+c9Fhufi0UYpoxZE6IxhHAymVyGkz4KpL6XLtLdbZJmEzGBfgxRwrRtU1orpzW65P79/bpXNPY378bSPQRYtbz1ZQNT2n5nAbqtdZ5iTWXAKfOVFrFN9WxXjGs/geNyULwU2lyiD7BRE58K6O06iJ1j3VQrWjSYkOrPw40E8836chgRKuFx49C4/pvGmgDYad9hbPyFHf0lC23guSMNvBjAo7Cg3Q+iOw/gJ9kh9jmjfc0LQhby46/n0kZ4MmX3msRcHuKEAOHRmyOB72aBYvN4vq8msHEt4PJD5R3Ht6IutTyWjxrYYV2G4ILukyDKCfRRiNss+SDq7DJn6OhZk5vfCCHSz7b1hXRi7cnspzR0vEVnstmPnW4q3s5ihVLC2TlOVSZxUSRMYF/hTXyJ6vGSOvienQEfoTBT8yUDU5Zo31DM8K6eZAY6B4s8s6QFwyShF9+ziLnHrpIK0kTsj0lIrvl0iJxJ+v3fecGV7YUDJqcHhxFq7HG9gcbaGf25lruA9C57zQNCLbz9sLEjI5wq5wpLgGlEaEQSAbkmOzl65G9m+SvzoT7cAVJjjqayUgofT/QBbEBW62UP1wxpZCeXzexTDswc0I+DrUcCFaOZKf5nBrJ+Ca3yAv2t1ZPMYTEHoCAF7CgxlbiD6ilzrmghtk+cJ1iREB5grQOws0Ck5vl8FXOifXDAL+t+Bxg1JXOPIQJJ/phxZEqf0PxM+kjaKIztBrhJHbXWqv+kEwZsY1GxhCOBsfzuf4Wn91SH4jbhpTy1u01PGUT+O5QuFaW/tGbM9G+5+kqQKKAJb7E/Gg2BIuKq0VfRUSQ5AShhqRy7qvKrAxeXXmXI3FOosT8y8vrVIcACeEoHWU4dq3SgHdVNwfHu/1g18hah5Fx/fSPBFxbhzg/rLsDrMswBgLVEg3fedc/Edhbi6EviD4RUhjxfPZf9LHpKuEud8NjEfN0d1ad2Qb+VcTcmYKJGX5XjSuqsQZUCxDPj3YeqY19ELbXXzkPBoLWQCuIsnnp/r9Rkrk7dUW17oiboL7nS+7rZxO1Mz1SiLjeX99sr6nofBd/Qe/vo9Rer4JjbCbNMAwU6BhNNsu/n6snqgdYmAlCssEtYgPWDOlypbov4Q776MncjFZOcPToClb5bGuj9Ki0h1NpT/xXrMkXXoaUD5/RbegE6bg8Mvyc5Q7K03eIHy9bQaXUBpaSvdK/1ZuqfQuaug4b+7kZ7UDWNMMJc90l/ZlKCzPWBY+ySQGi5oR4EXHHqfBfSvJBM49tHhqbsIt/jSZVuKJLZwSPULSK5yhtfNxlxRMtyjqMKZyQUcJb/J1EqDx79sw1d7uH0phxrRD3d1/lkfkBFZK0gAAxQSJPisN1CjgFk5YACT4TjIOiN1C+cglR6ViFUtCkAdtbgTuLxyImZfmJEU4Fey+Z69buRUTRcBzt1e4Nm19kXh0vmEwIxF71/sAijUwRjEgm4HuX4hrJMMd7U/PaSL30JadLSCFxa9uqxv5vGTP6F/ppU52CKQ/btkXHf+OyZRFqAICkkWhrwUaU+0F8euF+U39InZIDxOsb3v6mImZtMZZ/46F2nHPS82fsdmprKrZ9LhSfD/Emh5cvE/eZzSbHxW18j3Td4ehZrjX1E0c05/sXjrBtijwl/YvHWZXHUg8AKj8qaKCmBRcsXedJvx5jHYmUf43oSobzCIHgmeZ3KzyVmmUtQM7uPrRiuPYdlRz4UMqFUmruIjfoWFkV/Ltf8bqbCu+CRHDOssU5expChfGyju0dJ73mVkDptvLg1z+99vvuB+arT16+1KvRRlEzxowK/DTVe0ciVfnZ/Urg9TlX6P1WhCyxzLm2DZBDniw92hXLE5O+iPEUDgAeHi/SXlEGX/XsIWNZSoZ+5JsLHP+p1RTH9qlwk/GNCRL87E/nNLF3gqkSQn3AurKCNh4tCvqUUWC+OCCbXYdyH0vAB0EpwUpcyF7P4vXsrvQ/gjpC1KXZ1tSJCDNC4npOJuYsB2x00z9+xOpeN2C7WdReLH3DbJMVj1U1BQlOOihZ/iHZK9ErgO5b3Ps6Jr8D3aqTQ1W2YEvVVwd2n1yC5oY9YJiksp596hhEGZ+G/F2x/pdgRlMGSuh37A9nZmX6TVK3D7Vim6mZup+dgJBb+vCyARd0x1HikpwXuOXvAbCA8X42WBRlT+ZQxV9+qoXLZmiyNxrw9ofsHtDgPbBWrGnsHX80z7Hn7IpGyVJxHppzjpsvzlCG032yrUbCG3oYPUKW4ozLeJEYP9XCOge/YT8HmzHtMorL7VcyOjBQflTL3cbI/5RUN3hOP44UrthZAmfObojkMv6eWqAkYlZ+UM+FYbjXY11o97JZ+AcYleD4KJJyIpE4PWNmrkR186azWWR3rZ5tXgs4dKlf8hjom+phNyFXo+K42AFbLguScm4Ub3ce4K0p/S5yDU3Mopm2urEskyur/duLXKvbhM6dOD0ZAhgmz4OIPbPapJLuFs7THELJYaPLlAbS9dGL3xJDzllp5EHMDKXlx1IZmVdSk+2O5nb7i/RE+QL2Si0ADNapWq8kuk1xN8Egjvuflr+58PgPUd8vRVZcRX0SMt9MUnKM1Hs5V2Rv7K8I6q6zfk3QUIYk0zvHlbyOuKbUZFqcjVkLukL6n1wzVInSzr+AQ7nnQQj0EVYoc76pWKLurdx3vQTOHkuD0+aFztMyyZ2WdMb0IyrKfTkixHfvatrCSCtn1zVqepM8orNdzdAEajtjn5QnXkLbG2ItkCpvDWGGD1FKLdXhBLEMYfPor80rr0Bv5jOp+k/SHMmUiCZRkBsIJgSQ/UntVik3ccXI1xrJpDtddYpuR8yNiNntJBm/oRl5P9Oc8s9iOCD/NXhivu8Lr/of4vbzpTgghB0UWeEl6Wp/WNKbo97mP17263FuJVC3jFInie8Y+MaxVNu17ORFv7EH3mdBDPIINj0QUwYSMRRzKEYA4SLH0aTwbZ52jirWX+yMTSYvdXvRAKwJuUY7sTZLM4PPnOrWsPgzoCa/eJYdDDXcZ23n5FBqG+W13vug0UQ9xqpq1WrYEO1dmUqbgwaFP/4qkArek1hhsgQV60mzfLY2JQXscMohNKSI7r6HlHITmF4573P9qVe1Gpni6I8JsbdgP/1mr3m8vzob7PCtdybeosK4EDIP8KAxQSrq5KbdQHLgc7rACWQ05FZlc9WqNvldNGH7LE21VFU34WfzBi4i3RGMO9L9U5Ldyb8e3reV0Oi1dVm0jPgEBZrb7IQDheJWxIvY9gJZQYNrOoH1Tdo4OZ33q7K7ODrLa1Kf0iU1Rw5QH70b9wWv1YZI1Fv0bZg5HuaSRC7ECbcW+ZEHNe1WGNrTUWMc4v/i1xijPD+WF6ntT0NwvLrKs4mECr0Ql84probtTWJSUOmF+jlm6KhBWPrTTwzV15nB2ZV4nDa393NPdevjU7p2TUdotXz7ObwEXUzHPRObJ1h5Cgy//5sGQbB9ax/C1R1tW38DF4pjxBMnNqeDbxI4ub8+0zL0x87jg1wS4REkiWV+JA3RiePspf2A46jW+8DlagZSygmpVZBhs1h3Gi/Hn3GRMTpzDHs9OtS90v/esEj1estizrDNiQpUOUI90/QvswqKPSMuNLJtOMRaTbGU8cv1iXIOB6k3WxADOgjIlB5uOG9+PxmHCfebAJ/CaLS/EWr2AciUIlhstCV5hPLDd+DY+1AQr4VFn4Cf+iJNe64/I3bPmm609tAm1ETu7U0SkW1wbhE36/3HA/Q7N+MickkSBNcp8i63xA7i4+jokOb+bGzJbmuDldG+q3Ex0NY0vL6j6vLyBDU9bmlbHwwgzl8tSWvwbsQnG6/WVKVa8zMt+S5LRvHbOdtkKeooU8q8nACBLiIFCavxVHkQujonFB/DHz3mzR+3zTVM7FCXxdB9+PzGH0M3fKxp0y1iQAMP1lEKSzmKDf1ax4m7mzrvHDHQmpjFQsMIunv/8gmhchNyZLqLoAnP4Fv5TK1YkkCiP0EJLsc5cQKUJMAYQHFYpBQ9baVrr/FZI/FJvM4NKAbCjIKRkdj83bbEjwV6w/p2DODkMq/82/5dEFBSFYNJGaXYCoHCQpv3eO6o6bOTzzv/7t8iMTYtVN6zSHd/0NUjMaBKRfLamyPxnL8udMvImxUgUfhqALwhkZk8u5vQcE6U02i4UPb3h24XKYpQo6UQj3plIA0GRJzFt0uBX7ySP0rsGSoRmGKgDNnEDiCmGouXRLTl7UZoHNZVeVUDgR52od91t9NlxYJoczSrij0FQV3OoiiOsLxbEfebNtyrppSygEXS25vp3ULGG3+CQBK4sIPc0heNRuG+pupeZ7uQJN9K/0PdjuTqJJrlC6HeO9AK+xQEKJIjUA0Hf2UxR6DPEviJdfmtXdIsi49KQILwI/cKwhsGjoR3b5c0GKwSPn9DlXBks18JaCYsGUYY81bDxdEn8GK5DPVVkL65Clzc0C8AGyeMvbbF+wnI1li6X4JQz0f788xEOz6mH0X0FuFl6dlkYsH8gskSB6ou4TPXFUtkahJAg5EqpIzsHVzsvO5gk1cXXlkoxOgdtBteRjCdyakCekfm5onni5XPkUqtCDKqZxNEpeBvEhTw9Zrxd9enm/AnqXyZ4NEKlBWWgM5Yl6lMyM90zBxJxUFXuZKCUtCAasoy5NDeUYekCsdAVxk67i4uU+VbNdSdklxuIuyWOoVXzdJ5yNLJFBkdQIK6yULXkIUf1Uk4CBV7ePEuTUJ2DvjSgPXgqvj2jpBTYgMFm0yHOePxNDjipg8xS6gEmWJ+bXa2Mhqem2s6Mfk+1Ei8lx7vcZ658dCo24x+hPv9ZV+VSr5paWaslgnEhbi9S5WVsNH/k1/cndSxeEDMoeBaKLAHvcVhJklTvBP+EDKjR0VNekx4aOrn1IV0R/5pgrbpxta/XjRXVsMb8VDYXj2SqAD4wsRd9KbDIAnBL4bFyeywuoUA7dq0oRXlIV4VXjr7CNvZcTc6evqtVY2DhG2VDxcRGba+rK2D4Xol1kJ9L7uwoxvdrajIdMH2k0wmGZivOKa6Dwj9k2wSpBbgrwvt39EKw6jWMX40JQx6Z+HAxjbTV1yW10M6VLpaRcopIozQs9g0iBo2nRH6PuXw6MXHZWRl8OAnSqO+qdOSTCCh4rjyimH4PbuvHK90pY5PFrBgqi2K/Vn8L60VdAAHG2ZKA3JuAtZ9zLoN10f3fT7qkY0CNE0eMBno67CIL1EESUQgwp3u+lbIwXktS17KVsbKr4AsTAomLawLNl3ONPECnR5m6xbkB/ik24Wt6B7BPitrTZTn6RTM9usYHNo0/1Q8fczsqGpDii1yuNS1uNNcjLbx4+zcBXSUoSwSw3BwcT2fmNBG60Bzxox4ThLkD43p4EGgXDIuwDaCz0rGT3ZbMfouRvEbwi6TcrxzqBeGIGHlLsijpUwpz3iJDtDzyw4s8k5U7O3OBPK3uqbsyTH75gYhzE6fR+hw3l6JmUoY+9BnWN/aYKl2uPjmZr3yqaNY35vgZYbrliHD3VdZ4mMET0AGiromLveWENSlW24ZqJlJ0LoMFEpD2xLMekrHN97SWePTtm3prBxXn3Yrn7Z4Rz3gAitTIwhaZsgzUE+Tt77+KhdYDqcY+VAQ5B/XjxOBhWh1B583AJNhrYmrhxLAkPEVN5agumWgJgvyuLaugv/FzgCNyR8AuI3SuoqaN47o46+wcF+Jl6vNLnrNV8+BXnUgEusmhggxmnPeWg9kEJ1bSHTjCYmUCMmnKAJBf+hjIYaLIOFzWje7Sj/nktjOQ/nLrVSTmjqSOW5lSLnUhioOy1nrbVYnU9JIkDEU7/nhcrsKOr+WXcBCZUSVBR6Pl8WLjHqF7Zn2C354ERKWzj9Ohb3il5pbSjIXWcaq6UkHgGCjeOGO1PoxO0/LoKsU9FMG7BIjVzcESoZxMckuxzlh42qpv5w0qt1VNcC4vg8VNBewFGgRDJF+ITg/im+7Xft+NkEzZujs0xUo5HoOXUVnK7rkD6ZxaHRvOotgp4i7qSNR2sps7ESPhUZbX9ntxf0wy/N0SFwc0FIuhtBT8XBWrUbeOFtRTl/BP0EM/ycQTugKHIbjAZl4CcPq/Ky7qhZLVG5WGVQayn0SB1R8w11RAv25d8kVwatFD4X9e0EjfNJXvQmfy4nOafC0ePiYt0xhmAyCeBHpNO0DDu6q/4lLCj7DBt9pIozxsFBAxV8RN9VxfkMcsaLjFBE4Wg7g2FO6IthYyRisykR9t12HMThPNBO1x7dooz5MVlaXl4TyhqyDUdE7A21a22Ycc0Xi9ZzvUsYyqbPLHIOeW7RaLNT75bG08G5Nzh5PvE8a4AHc4H+dwD+rZgTPAf9QuDbY3XOehmC3deEkLY5Shki+X5HequZvEBYWQGcgDUHIeSTzNhRa0gPNvJyAu4A27tupAJO5pZvCFrrgO6SlGIbyQgpStBrWGgvm2xhc5b+Hx/vZl5jCJihKd7Q0j2xEm2x/7HBb6XZirESIfdWZucSEx6gzdkaCpWr5ah2k8dB/Pvyu5bdJc+PZzaSZfxesT94D0yvHLu2pjzJ3OksFMol0tr2Dv7GtZ6PBfSyIzeAPqbTxnHAq9JmNqxVpqjpcOgEu5FtQPXLt4AAWP93sxuGr4JxqAMV5/yE0r0DRI65uibiIDto8Tsm0ij1XBN1uDlMhKPCWtkYVS76rwCYShDm+rYAS5Fr9P1loFR2tITMbHyWWhijrWMX56nC3AfzYhzCf+6dTs1Jl0F1nBlsadwBlJrTaksQs3JwwyHG+v/W47vf4g5ih//UztZAcJAhxMOrl/Ijnim7fix6WxGR9PuMzUhk4dsCRw7IOU5eet8GszClJEp1cjnNyhOwukg/MBI/buuj2Jfr2ckcwh8r2LgbStKJbKkhVZuZhuUTMyZKY3lkCNX2LKR+UP8RBuVf+9y95MnNV2jlQ5kz5uA3xNA5lXSXYzgDfxszZWB3yTGEdnppU+QvBHJmIj+xlpUAVlHYe7E2ZpUIMzs36ABz0BnFb6yNigvbjLvL8LeoTWfLYCK6fUw2iCUvHcvtsL3kNqW9cp/8BctI3SaA6oR2iIE32O8UsSTzSAEZ5rZptEKl49s7SKDScr4C4XCj00NS8Q60rXEyXLtnuNxnvx8HMLcoVZa3m35KpN/gMRW/Q9E+Z5fJh/Spolxdi7P/m8v1QocoPL9LxnPuKS9mfiu33+AghgVhQ45yy8eCf+UALXNuo4FjnN+6X1YMlocHH40Iu12U2phIxSW+Op2150sg0uIs4yaTfg+7f81/h3Y88owZgTwMdRT1Jx4JXvY5UiIlvYhpRe+/byQrIqYKYiQiNSjXH9KJsZMS0n9yK5r0/MbILPvirRhnporMKBwLL31iHS0jljDMs54XOgR3xvY2ma0qen+9TU4UMZVamDiiEDI/IzJ3po38Zc0otqR3OA/Xx+Cjep7IMv13clOburw24RdeAktkfrMp8XAe74CprCqJ36CwizAl9ijBHsEEB9OlZJoEfB3ThHihGC2nGYU3LLaKkAiPd1t2kaiw3RrOo9m0+hOfgWeOCKT3D/xtVKmiRzpOeopO8zDDqTLSRKztC0jywy8SwNX31LzBRJI52H4XVmw2K7rbU4u84Ao8gB4kGSr0hoFeDDY/AC+UipoAnKEyylwD9Q/nyseEnyvWQ5tGfUg2a1zVKNeNMGRr1SoLy0/AP4IGatiMAP0st4RhXp2rDnxff9OYeuByUGxAgByRmah1gD0pAhoLrODoGTRjgK7b7Vv3Kczy6hZ68vSlnqq83a5dplFvSIqvEd/apHd8tM/2TmX8fyAKcW6FXQKvnzJ5/GrgRKTDvRgZqfcdIxSBJV2LwBSTuk9XEO4US55PAqyNMHw4tDnAtXCEyaGiQ7WJ/C8ivUBroa4dV4PYfpqVqBMdsMOxFv9RJE+aPOB2fOqxvLD5OucUMT6sVCW7/e67+mSGhbTssbvmMUWi+x6Zd7nI9Si8jS/ZKkq1l7q0fw36keyksL73rk0+J7bW4A559MdyAouNXNeDdDGYo0qoKBwyybOUPjfHLDR3sO0GcRElJN2Z4O+ltjYMy6nd8TFMw0i4RV5vjl9JZO45lkic4b/JiC9KxEZtbMIIDpdo5lUhdIlqYKKm8AvFMPY/Bz5os7ENcmMAzD4aKLuyuTjHl5ichqgiVmyCjC4/1cNa7kvw1HFxBYiZ4s5Sk1fNzjk3LvK/yQOBm0GkUiCUBgqpZyRNWvFlgjfVVmmIAFiZ0dInhK6h/xFQnbAer+vIy8ReUKrYgTKRiTzzLBwrOw22K3pGHc8YPUNIdRQUVlNsmxdFivwfqACPvIzzrv5Kgr35nCQwD7vddvDoCp1bbfnucsGfEKA/ROsHpHiFesrrfViq7pultzj8PNBOGki43UcCJD5cDxgZAEFdANGT/KYyHzs7qPFBYKaE6y3A58/oWfsEOFURfGZyeQJvagmPXeTRoxEp03HGJAnszBOUodCNXYvSV6QuV7hyz70apEQO7imiCSVeU4ctEj/QFgGjWi81QLq9okTKf8SvCY1xTKTD1xvcB4p/sug5cSSPcGmQ7BU0FVf3/B3Lenbu/4z0YDkPaFB67lYcXGTMVYroobDifCLpfy++KjCXFSbMCFZu11o6ADkAwypfsNvuyKBcgRtyMKjgx+i2WrBUNn2zVqCc+Px7md/xXdCgyPCPCS2hk35RRsxd8Gd1doU9zf9Yszyb9CHoWIusSqYWCOoyXcwpXGV0iBtwSx96I4FKt1UimAJRVnFiHrxEnaQ3wjeleCoz34QN7hRKHKyJCSnzhdnqNkO7Coz9rqXQUpsbc2gnq4XsUtwWmf2lpS+w3owS04AdvnjQEmZZVV6BgzQR8unW/0X4XR/mvZtJNmxRShDybtroOlJ2NYi6sgBw5sPkwFBlQXxhn5OSM+eTy7KCZzTDX8s5xNPKZ08l19s056j/ryiARVsHQb4yx35mSIf7ApRag1K2sM1Y6GcNuIpPHnZ/gYnQK8mBhiluUfcFnktqNuMCGrjUrEV5iuboscEwpxcRYuW1Gi+PAnOIxaZOEb0dGeJ3qoSznuHpIik3btyLa3JB5eZmphyx5ZYpdFElJ9xBgzTDmxqodjT8McHwvj5Nvixz0rT2efOmD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xRdLyPBQmwFteRcmjXfmIKFVOE+x+7D0L5P2NswCZdSND9jm6qtWtgga1//aYSZ4L9sVAaRcrUs/N5mAw7NBt4+bMI+Im2fPV/y7gklBlxI4ysj/lp3RKZ7mGHVSWoJPC0522DWjHckhkOsUfZ4Kci0pobD1GB0XkY5O9lBXwa00O9PVOR9OA+Sro137YuWQFErx+/QyPZfhyCoB5o9iJ+1Wf0ErdioKeSJ43ulpF+3/MV+FvxIl4LOEygpF60972FIHDHa5/Q2b1Q09z5eLy9vNYGGYx7Jim+R4jTnMtFRSKz3XQ55hGPFbSvqrY38XY0v1IK7zzfjo6xvK+JWG9ARo9NRTnnFeJiOKojH97Cc0zrKRUJVKg42+KpqLj9jzFfnzViIyLXB4LRTlj97iNx/Vs9aap9Y9UcanII93YOGvX6wUwrUSwhxtmhxFVNLECLDe4+HYogmvw+rmxthJNuslyIXJK5csuA/eUBFNlyQmy2N8Mx2wnhwKcOJAD0J72sojoJPci+cllYTSEpbVLv46qPX5xJWkfsklXsusWyGGCaQghzERyMNvoPFuwXWkgeM3teMCh1M/2ETZBOZqr/AVkNNmHUlC3Ct93NEDkX1kvU+vmS2H4zVn1ra6bD7gFFsgUTBV/Lku1ecAH5IHe85HZhZqFybNtAbew1gEuRI0CVV+AmG3e0U1bB8italU19dBfQ5NyH3+iDSQcrXH+8lZJl0Hd4MGz/MdOrnXZs63rhafFmZQ/t40EPLYnvhShPbi8oQ7K2ugSTIGYl+WlLoW4u8s3qo/ExSP1xzKxnGsj36P3QSjr0SuwD7Qmk3+IAV1XbgdVqWwmgdhT/Md7+YQamY9Wb5okbOAhgP/ZBDLIET5S+Ys//4kegb5QEeDpyVUaODuxKBGqIqxzN/vudiIbF4wVIOhsDYH7ZOHrhspGHlxx/F//4la6VchicYqoRHIKxRVJDJGT8sitB9RtrHZBTnmq2+/YMBzpU+IWxYEC5ZvE2lHjVfWDv2w3wE8n6oacg4qVdO2zUBcQ98adQcBUZAzEDEjAeAaFWW1m1hqhMV8YY4TS9heuIwFuCIkHbNAD69ic2j4FwJ/EatQ/Zu+1ROQq8vj0RaGQ4WbrdaXiWlJbl6IUuJjeDVhc3JPQNz05RG0SG4SjzBx6WeB8x9Xy54iIWdhZ8x2K8TQ8D20M9r3BQxFngOXqJhiAgsFisQdqHfQBFNtv/vShdfkWFI1Meg1GY6r0A5C6zDSLtsgMuCTOlb1zzLqYzkGr+HSIK6hRRH3bTF+c3t3jk+ZqGngS5LCQsrUyTw4/gK1l7ZdIMB3bs29lM2nis9laTwdMuCyigdeAnKuk+n/Wgb2bltPSo5BV3EBJ5hMOw1NSfYGh+xMbAXhFERdk2QUZ3DCDrwlI6cuFvEW4aZZLqeIKsz/83G5xFaRpdgjE6FSQWS7iwXo41HZI3nlVTav9NwQ21hLi+zC47FPTTkTHFDSkHuNzoNYyl35u69LAfA7HUrlLDDLCPeIUSAMBRMgQ0tsMCldqQns54b9mBMa5/kszSWcPy74EJACn+fUW51Ns1pbzVC/UE/M4a5OaK2zefdZ/FCE2763VstyGjsXBk4ApIJdodpP0hANFIVesV51L/45/nBxOsfv39U33eOKaEDoFLtG9pugi1//sGPB3pE58ycacIUk/X0K4Zaz2PMug409q7RCIGUAnzjmuEvHxd7cH4SRfAD5QipdJooNXKpwvRvWQIysGJ0VajNiiQ6uLUvLEIqL7xaMu2AH/aGU0czztN3efdxRBjtEGzVHCW6YhkrYCd4ph6rjKdfsr0UfDscXOP6K6GK+7CxPlBFw2b4joCf5mBWpIhTLVz460PIOCDYmmfvijZbmOOW7jE1p7om3O0y3rlZNjyDi93y4cXXj+lXSp/W7nObSS0JkwONscFMnV4Drku0IL9vdSwOfGz3m45Ts6EID1jDlq/YE4CqlLEzyQHhkUNbw9UvmYRvmXe3AUU7036D7X7EpWEIld6XTWkJNv182sRXNcKTuuGWWHIYyg/v4gwkaOCs6txVuZ7UrJQy76gzDkc6P6RBwiu32e8dPsidLHDnqLHNhyTFWG5tF6W9ScMTiGIopyfQ4uigNAiVcXlMnjlXMupiB4MIlJOfGEU2oFezB+JlbStbvRUhbBMG5Ht4auDBmRq97r/Gd2Ku+UFFfsDAUmJu1fkzCI8yKws1GF7Z5zp2XWEmdVe0qPMgjmf6FP2sZbyfjdu1lOK4rZO3qqe2TI13lwHWU62iQJ1A5PdoAW1rEJytY3wmaOlavx+4NBwq+oKetcX7wPu9zVc5WaFJgkaaBRIl+/dQwXuHZNHkgP8xoPT3a8SOLOKyMro2OnG/I79WMQEUZN190mhnbjDoVPd0cJ2NM+D3OU+numUN/5q8ReByisUgNj1yya6P/IQv3Ha/TKPSF+GQJFBbqic9m91/AM/WH32lKa28wwDgGMuewVixxGy4K7oW/TGexHxJLEVtAfim/Qoq/OfJzvwAISA97NA206QJ8DaqZdV6MFn3zEwrmRtrT7hKlCVFc9i85K3tdw05cpclQm0vh+Nis8BmDyVNHtdiKrKoDMJX0D0RzW5AQd1ZMPxeTAQTirPBgH5bsfmAnwSrn93bY9GVIf2ye+kWLuX2ugy2vyJCfmwzFU4RozK5Uln7buASj5+tABBKIdMvL4odUu7r7fFF0yz3VYElkYbOJv5hTO3kJ5WeyCBmqPkJ/YNu6S7D+DmhhX4xsZ0iZid9wQ80Ikd0xaA4xWoEGo3DQ08AcTfhPhd4NfXYjOZYQkQUJ0ZLsZtXDEjcSHr7GOE4OYigIg4sEFWOgXjwk97C54Iw5Fmkiqj2PQoOjWx1AYNWW8L2o7VA1JBkzQwzfraDXKs/xm5zJ7rCnwH0LurlEHT2gfUe+CzUfj6wBHUDDW49aPXwUAtIRXlHW4hxp8ljAinziyD0of0Ia+3XBiely+ewXEoS9GZz4TzWdltKjilGaDOe/GC15FYqx8As4i1+6CwciVXMIxkMnFFGF2KUbqX4oljnWv8U8yPhCrI1pCKSRUtUhjUJXPL3eslzMs5GAM6WAt50BG68NBxHhBGcw2BXWWuEHGBpanAhesQ9JR/tqWOUj7objMB7I/3+z8jV7GU0jpbwphAhhKEPxZOevUdvLT6+dUWWCQlunCbqPBKsIB6Sz803usGYnKxfq8Tj6JdW7aCnvzdxN8Jg07Q275Kr0OODDfNnrNQB2CDDf1yqsXEQMl/yjIJ1z3Cli7JpCXVc5bG3QG003NDt8Gs8SPHYq3HUJFFUPwU/UgXoszwFzovAJnWDGziU81b3vfTCEUg33zST6FlYYvDpEAks0EusuE73vRiTWfh2q+4xPbWOYq/aRZF0XsVgm0KinT39HVyp+L8KCIRjjnGFbmLNDnwcg+BAS6rcQ6K4jUwlcSKlgQiXS1+G60Gp6K+H4/hizuQbU1I/530I/Xwn5/s45USuyikjaRbvHvRGsG1znKYX7bi49xMXr+LHHvqbOP5R0wZ8wwAiOl/JRA0P9SMZZJlqA6f3ooMFevsqHusSxbYTnZujkjYn11qrf27ySk0LHDh0cit97d8Z3fXy3boTpFVxtbeupRsalNjq7iY/CJDrh6EhLDVegjjDQ4dpVdfL9hv50ETDXUYYOaSb4AQ3LWLAObaJfYP7oIURMhATyBlFq5BUUzMBv1zQ9TYuMeocSAGzroBQMNFF+bldgwsFWSEnMoLLPWAMiDOptz1AtmHaexD7M+pb7g1yNU5MqcEKI6fW/8oIHnvT451hJNsdMSfumXQ/pkDa8Un1p+r/r1ZeIWWGgwy4VDcwjS4TWzclpMnxKk2lZxORqMgddlFwTf6MX5khO/b5P976SIHh0xWKRdu5zyoYo0s3RrlXNBUCRsn5Brt/54r9XMd08wWcn0P184sH16wlsMFFCorYup80TvNtKivp06+xckChOc5CxoZVNpQY0WEn1sSTyG8tGbRv43QPv5hhvHQBS8mxoQezk8DmBmFFPvXhsWdMaOmvytXTAxhfSFF4MsWUqraNQ2QRhKIkiVdOI/vwMHDBRW5Kc+Jq2m6tkbk5sbM5gJ3N7JPQcSdjrMAsYcgRr6rXV6kk0CGDziThu/8bv8LIVw5NO2VaXzz3pp2/twzDR7osAE4Zrkxw4i4qcX/17A7Kr3vNvDsSM3BcYQ4IRwcMUBaB9zKP0D5XLe7Er3HkCx3zLO69kGt8+iSA8Kqf4/Egfelu2DYhBrvdQv6slwZ5u0igyMALt0Zcx6R4MoRQdmMxZTQ/3AS1YzPSlPw3qneXETH7YLN7LhbE7J0+RdSs+34UKr6npH0n2I0RX/gNKx2tC5EZ2TXl9U8uvDLg1qlfgNbCRwR8EZo5qI2g8lthx6wqzeoSkEq3v8kJM88DEkCopMfo6z+SoMCilfrW6nKq66n9N9J9kOSl2YfJI1bngUfsIbGY08HNLTexzlEOwrUjDBdLhkmkFt44GURfb1TLr3e7IfZ/bfb+sTs7zaDc80yrVy3L1uJkGMKRrrqnSjyzPzpLloFKtaZ87uF2NFM9aQz9nMvK4RPszHr5wvPI8fVIY9sVdLKXA4saim+uirvLi4UuV925wi93jb1BytdqoAzw4FSsfZ1rr5MZsRHgFo3QZkWil4G+BOr5vnoEO+3HIwWUB2XbGwb2R0HRp82OljK7refQRzj0Qzeo41XgpFZPzmjI2wNMDs+6DJ/n1LlO8f9GrOHstRXQMtX2RslR4AF/PY4/BjT4W5qtAYju6FctOQLRkQrfr8kxSThBIVod8C1rAXdkgY1VByHpC6tg5WQHvrKjEVNytoI594uoFWjR+3JgVXRuuiY7W0LPPHybifaNn1t+lQJp1vBJnsVglWgb3kfoxjp/IRDtQn5jG3751npLrI/Vw4I4nC0AZPDwBUZWGt5zFANOacmdusFfD+anQw3Wnn/kSE9sixMyQbbbi77nqDpBwTuPfHXaVM/j/er9yI7TWJ7nf3KYhEtmCBwFc0NzQmmbOhe6Qun1s8BLDCkqsf5E0xW1eXNE4DqgfIb/SKh3i9FI0CprwY5vfgCGRMwWkL6sPc/KnpmpIne7zRYecQLT1RyciUjmRXn3RqzsZI02RXJtyfn2560XoPK1vtC7HYn9kWjGQs+2UWTCcNGyDMlKeKLEt6CtQVs4A8B2HJzlwv9XMfgnGqzRaK0K8gnDELLHYM+sCkZRuJkGh3+B0PIfY0L6sCvQ9qDYhkfNNIOFkH+/2HdhuTyaS+yixRLXxwpF5SyCFJPUkBRn6WL6MlFE29W2vlgS60I47Y6bWwfV15r5NM4hn16M+O2QkxtOrIqbmUoRBvoeXwjOtcWTf0K6kHVNQO+g8Z4XUAcvLBjAUPgB/v7+w6J2jMi9exZNHMFOaB+/OSaJC//+rScayZbvFZixtUFjLapHowWOTjz9z/kPiy4wTkC8yyG+DFXQnG2sj6dJGo8L6qByLPGo0zHV8gxst9Zz86KNz8kwLc+SucM6iuIN9kjsnxSVxDn3VyHHERHH5Tv7+2tv994WwMoXiAnutrxFVlNpwX/xP9tdUDgb9m0S7IB9572TuFC261zhgghfpcI9aY85kpAG231DNv/1gHnRWej8Ze9fHp3l5qdqCNSItxXxBjFi08dLPjwnji2ozRwaAaRJuURG5CsBiJfoih2KasUzDRlmh7QiBGscJ5h5wRC53p67Uz9xVFUdaDX8KUKmoBoCM60X+92/VfwMFuPj1jTYaWxiDPy6Tc74+PoRF/pYhn8CI1+F8/VgB1G2r/psvmvIyn9mKXG8BTWgyDhHG+HBSo2fFRmAKuaidN7UaYKy5800nOgqoU4v/k631HiCwwgDM+VVmZD4CCWD9+dkAPBXDCp2sinvVM+HlsgCDNSE8G3yXLsbdPppU0TExvYIFcKxrhfJLJ+61AwKSOj5o0y9c5tvqqUUv+SGs6w/LYTnmIgYrDmVaUiCfIMM7FrZW9C7We5USX+2soY0/yaBL+vqXAsvkneDrK8byvqzuw7zHFrQcYUTVJj2TTSaG6szeiQKPkJP9bZyEfoDilvmIYIQ+fugCTy6XxNA7aURi1o8rkCQgPduEY9zr8LRf9aidiaL1tBtAXhr6y8mtwu7+FJ6t36tIHY/Gg3GN23vC2+LbMHbI3/yruhlVbrLtnDVRFVIcclxGpWIWElZNyi1Y2qkBeRnI7E0CFWxZj+nin+bguwBA3YzxjSIAhgzvpmeM9SxrK+6pPf1wa5OtajHAxxxpsi+8M2qwpJNQv8PFhuCu4K6p205SCRCCa5jdUUlU7yc96UCzsykMfaqEsJVRz+nilRwsNO2jTZESzYTklZUN3CpfOJoaCztcUZkfYryiXKOVtUpzPAeMOLHWm/Cxk0FV7sD/SfXZUC+4iz21684TDH41oIcwTB7jpDcvhvHxXFi+VpOUUJFgeUH+xZae/eY+3Arb564mb52w8nu3HijO/yB/6ycfiGmBBvxR/3LE+wq8If1aIar/Wl0DBmRulzMWEiRN2AUnbOqu95e3gStPGwSIMgOSSpC0+3UD/qCIzaOmmB/kblpqT+0i+2vEHmeWW5ojv7sI/1mYz1Fj91fs/kThd5tXwOHNQ8SKJzChtcKWWjz7wFOMMZ+NFo5C5+h0PEEDmYIpw/Ip32Dh3j4L+JQkRYxfsnow8TY3mHbgCI7Nl2L1fq8ugeN4yuiNHxdzVX8ce/pASw6RjK1qNZ+Wc1yaK3YFnxDhCpyoKxoBuRQAVLiX0/5NsSfZtj/sPmBmhhQGjEZMHAgcQE/nVcgN9B1YI+MsmBlMd/FhbfId7aRePU7qF+55WKuAyeNHe2hT/aUAxIdorJCmqvplmpqT9qWVqW2XjImPdzPwbhwJsxaKQQPuchyaxxwn5ru26g88DptX2sMZtFXDO7128ioEHn7lkt0vLnkv/5q4/IIaz7DcrcGP67UwOTfdBUbjgm1hJMakDVCKnQlwL4vkC15jaz9YmdNl4S4K8X4OznZQaadMWK6KZFN6fc7ZfMNGuntKKvpI3uae12L7cniYu+bhKaA79fu7rGU6bt6IXEBfyx4dGwakyfWXZ/BZdVlLDGdq8GokhhTy17XgT8dbINGCHnIAb0QS2WauyIzG2ebcNyMpZHZUyxhmeOnuRSaS6kt/CElu98Jv3GxpAeMTL7nL4HuTTZe0riJXY18ov0ULE2eq9RcZfWTm690h5XkDao425uAJFm7QR4KVFX5H+ee5DhpKqhBvHKPNHERi4P9pL3cC4C2RAet+Dnnppos86buzpetKgXx2wzOeaZ+mVkLZU2YMI8+wjvv9KJPHHDkAqXlqQu+kIV+azDWnjES+T2fiZ3fDr5IKcfYEms3JxuZxTTwjkXEADGi1rwt+5DW/uRXiFFoFXf4fcn82Wfw4ZYiHLWLWOZuB8O4mOxP/LFyyZDzrq2AfCxm/ywLfEYNfup1eIT3bOdOIdGRKOVfAQn7Cmnft1cmweqKu1DQpFMijPwiu4P0EIsFsCdwHFb0o1Wc6wJqsgCKlAWrNHeSsqwMKMa94bbyPH/YIT64bKFiFRuLB5jmDO4KyuUu1wfmgPSsOWZAIqc6cZ+JbZnUqD5z0KgbFeZHaAntlUo+/KAlDR2qYtG1euKauSvRPrC8hEZKqufWjOtilQWFSae2pmSaKQA2LMQGIdncvezrmg2AvQ17aVCdX+rRW9Z0Q95g83Evh8DGJgkLpo8R8hBn1mOxtK7mm7CwiODerzV7uwnleQIAxNFlb1bvDzltEzkyspeaQ/ZiK+SAv8P98DtlgcFrkW4kMp/e/TFunZyyYxAK4dYbkPEbeNN6M4JpW2TXbZ7p5nIVvcVhlBFlDT5UCE/VqmN/5iRanznl/02tRyD/n343xXEnIOWwH8lsM9ih9MGx++Bs4fBer3DAcCrYHbJcQJqk1S+m0wVjiiYMYPin6CK2hJckyZenESaOxEDVUc+lRf+nzSM0fP+hzA3ZbMO9HmBzUtH+0g2085d8ns6hY4veSdz2lHGVrVxz/dv628UZ+io+uOiSgvQjhTWfkBGl1dYeIHrBm7VxyUiiD+aXtXO16buK1iZfAXA03qBdWXHjCFI7wv7b3IVvlMaLtdDEvOgsFzZ2T9Muv2zGUznIV20CPMYYFIqCgcoIVLtuNN7fpn4RPFLT9YTAeKuF+lom4Ji0eYkhmzSQNrmut7kkCieogrCyX4cAQZx7n6XtbSc1GCXXa6xYsENhZJC2V6zFk2xF6B3t38PbWv7NBTq/8Y0TEPc6C4Gqo1e4LY3LlV2FCIoJbl4GmtjGL1yIixg+Pcjw8/qAjtbzr/ywAKLVKaHJ8x305t2hsFe34XYk8o71rIRtMe9Yx7b+PF3J74M3ObFkqyGcg1M4GTtMj2Y+aVjbH8WMKv3CWj4962LnUeP+0T74spWUhXbOKtD0izckeWy2v7w95ADgwdT5B8PBT7Kke0N2FYSDs7YztA7jFL2wt1TAX8CiYFvBN+gL7/oGgVatp4UbNgouBYt/hOIXv5nCQFoH2tEN2In283jG8D6Jx0WrU+JZDNcbOO6/Vfx3dShsClTHUVNOvC7q+p7zdl7X2tXgnig6AdFsGnfuwk73MNlBXLwqef7p3FNMkKH6q3tgUlmY6JFtJGqLkkIWo8GuYpAdK0j45GDUCYREw4ECFrHrDzxuvO1Hjh1NLAXrDE2atCNdZjQzoWZiSbyVugol11OyR8S18Gj3xOpaLstTX5Ovo8cxz/0VrRyfuZ66mR0gCN8uexjpq61dm71FmwRdYteprLfAMPG1yjIXdJ6amCtax6IO85aeAH6c02+wrWZwNCW4n0VyLEu4M7qq8Kcm0kojXncBdBUpv6fzD0E0QddPnMcw8veS6UHxL6yz2QYatMjC0UNF/G+d9Qo6a6qz2t0x2GVzvpWUy5/ErKEGFiX8IvG9WBqFfFwISYsYI7ethozJG/wD15v4pxkZ1owB/6Kxpd8H1T3t61nTD8yGoMNxnOL0F/6ykg2kNOd890tjUJbxT9clPrneexdF7TLVxvw+VBm7PlEDQvL+NfB+/kfSx8Z31f92BJFUVkl4ZoZukdR2R8f9XLT8/6InyvNQFTOW96qNOgLPVdgbGrC+HVhUyq1Hy+ZJOklE1D6y+8lhHMRfhVjHqEYNnJ/gqmx9gPMlscQfbOlwNmnKKRoSpl7whhkz3GlySLjvmIFoTxGzytOxC2RxcNHhvM/+xLf5fUEFHDdz0FQ4BqLYxNGr1X1RIprQb1fJkvkkWSpz0TsmyfbiM5GR45N5ZyifPSzNIV2Fs9iJlZFiL+oi6i8FtDiElIYhtSogduYTLvi8p1+SrEn1ht7hUSHDC14O91BM4fjPmhUcF/zXccQcobLmlJW5njCJF55eROEFBfzqLRwUqeGy8/4htdXTNrosnFH3+HQZJIAy9HemLzKPFU/KMJObBVfo+jkKvtGqdSgiliOwZfQZ7JPQKHo+eouDhhE91D4jFHrBPO3lCqGNJCkdJlK0XkTtNgmZP3syBZPA8sZKFRhWztU8RwHQe4ukLWCBw8G4jkVam+QzIPAxw2OkKgPkk0G56eFoSsmQsPgWv0ooygngFn5Q5zT/AgcXjQwMUTnRXKJbvKJrZJs4HriKoRwlKvKcN2BmqVzYXxF8q93vxD+MVo1tjiAu2JY4S8TDoJNACZbhpD8m6a6Ir55wt2kXqyJ1g47Ouh/lv0cPl3lE+KBXivEbW8KC3UqRLehsve1tkpePlmz3Yg1v2e4vbKlTvH18UwJeE/mT2dp0syA7fYjyN8yWENkZXuhZQapI/eRsB4yw7lNVa336PkKYYbkfWAt9EK5BVGIl8h1WyFhjV7h/5abmFoeFlmfoeccuZm1XSb6TPr/Hjoycvs4WI7Qpl/Da4EvCTVrKPK9CHNc7OqjoFM1Cz9E93ehvjdtjXIi/qAS11x/PfQ2iogWbddpFL5MAVUr33DWaOCPCyv538kD9vaqX7+2H659m+kJdJe+RpLgnAo17u7RxzmMEMgxOERwROd6NMOb/jkYCOzl+/uBCR8jc2OTZr2lueHyUIO4oF4l2MBCgT6aX5owx57BBpQ6R1Ci8D0vZszD9U0JHkgi+k0xfvq4xd2tddWPlA/ocSFd+6JgGlTNMFJWlvKZHGaKClwMg+plxFgifycOybGCmGNrrQLBKZwe/Iq64Wbosjt0jynj+W72amBrYjZ491HYOJFwtYIzEXVOP86rjnziDFHgW6wn43qH+uuqTnD8r4sLf1QITk8H1lbJ5JcasMe9z6JP9QRc7xLqtCAMK+S0xDksc0GcHT1cYHODI7umluuHEQVb1lvMBtYI5MbLpzGWg3swCs+CL+dB2goQBG6XyHE2Ix+SuJX4caEPRMogRNuLS/ecHd9tbNrK64w3e9XeNnii7DGBkSg4BsFa70O9NA+KKpEdkDkSbyyraQr8Z3ae4H48yPe3bVKP+/DdYeLejHjgd3qZqwiTXIhYEfhA5Ks7h9KDptbON12+Q6VOAzKbNsPNw71W1EYzzCRybaR64colD52eYkNNIwM7t1Nz5HXiZF66F+rASEk70vw42geLeh8dLf8sFhStswWzyjRLyZYtstn4joNy9PaMTeGbBZGIquV01S5r0TRhXyT19M5BKLCI8rpizFmyL2R9/LEFRnRCZMBkL5Y3RU9LfjB8wXSxT7RXYKzYQFMNrlO6oNNWl8kvnzFLrJsFmtycdadmok7A0c6dV3Vx3OuJRo77Lrz2hoWayZhGMGf+ghW/Y9T+qUV6/NVhwZ02woDrgIAX8wCpyqnvwjqeekT82ZPYFbX8aHD/vyv+ZsV1JST+bYBYY/LaZm+vU+7BNazMyFu1LYpX1Nee2h0kLZzBb4qO0JHB5vJPiO0BZvmrzQGPNdvvSG8JlyRpVaxNOJAgVDOhUEcXKhdC/IbReg6xIKq43WjWu6FsbMwJtgcJrx2dKOBQkxvTfge8SGgzr9vb1T67JK3kdqaBfB3GQqSlFGvJqqMho01/UVap6koSFmI4cn6bEEMCvGLRBjobNGe3xX8lvzgySN5D6mi7OCtHbjLE6aXxEFJyOdsj4h1FDA8fJayPWgVVZdyboWw881ic003bh7adVec6YQNqvAbqSGyR82ZauUEPve1YDQLo8etsA9nZMkaLe0BpFJxn+ml20PgOIe/n1fU3Tu12voS0/lGgv2xE8mexozCP+Wq6r2jkxB9JAowr1zwXUQUXYaUtQNB0iQffqM+Ewf2IFF3ymEGHG+ypDGRbQIEwqnI81cD2g/Ktsi0MW6b9zm4BEB1xYodCo/OH8poRMDjhlI1Z+eVLRO9AtPPKm9QgvWMj/B210sDpOeaDhTWOad0npSHgE/D7+H+BIzA8kAx1qluyFKZR5x29oLgcwvYeA3w8cLI/4RC6Ib2thfaNM6V3rGZ0goz31G8ekGRiv+8Ik6kKPlgHGfbztynQY4AWElMzExkzUkKj/C9mSE5ED5LxV/sy4Lp0rXN6xZLdnreX1GCBYcIK5BcaTcHzwYGcqjzH61L8WRow4AyMN6Dmt1DRvI58C4GoQkR4usVuV0dXaPJ4EGpM5V0t77Qk+8scEgaQELeM4zSSsqSxcIB6E5ibdJiGn3trRpFD0eYgmZOZpTOnOzGG8Aw0X5SAks4P+HB/gu3tqNOIr6tBjYXalkJfZHUigq1h2KaNTPSRthQFZskBXyqNed6rl9gCEke0QZL+x7iMaeN+pYA1KXUxgUOKx2fRrBwdqvs7zkPEMctnGh5b3CCUsWToLwoOi/vStvFwIEis0QaLJsXgCiXPM9LozNLIf63ft+NpHZDqwp0EjLa0aeDkccuIIl7vWts40Ojymx5h+GkA+FFnLX+CtmnkMNcUbgzsnHm4pCub4/fFg4FIUR20uecnpW2HjgDAjnqyhOn3m4o9ilrspWQNIZEqVE30dzNMV1VMEu1LzD/npWolROIJih3MlPovMkzlLNkBcnj3BbMpVbviGAFBTZbjnS1HQdBdyEg4k8Kl4cIR5y1gRl4/gOmHmazkgiVbibb0qx66F9X9nsgTy3y0obNlJGkcbFjiP4+99ynb1//9tqRCOqJSEo/Dka1kaz+ALC//b9pwsiIJs4DSQp8+jO1QaLYecUes1asxB82v5dt6Vq0NxdUs7NS2Oo+sPwqLH+PYPaokTnqXJ3Dsqw3ulYZjChg844LhzYK/vsDKzb/Z4TXS4NbjsJ3hpNqgFisiDNxsXXtYF3WLjIfrCE1Hucmy8LZoxI5+/AxUQ1+soQZmK9ZGeeDMl7df6mx3byHVcJqHxkmLvu8TPMEqn9pCo75oIqVjMkD/8ZfTya+CMJuo/ZM87TAh+amtBbbpieWrGgogV8hz1TaymM3d2OeZhgjJqaNI37e/vzxrwaIXov6xxJ6lADytl+ZAg5Fx/VVsOwfvkug+zIZDgoVi0eRTLRLhcZ00eI4+uakTFQDzTfgFwi1n2bFTr1X8TKFfsYeDBYADDYpC1kBfCQ2efxKh2sAfIKiBqN6m5MqDRSxJ3M43LC9S6pFKsC0XIeEX59rlHdXxsevTCe4v1HO01AZvjQgixUcH4qsAgJR9M8AqkXJHCBJh1udjGjiXqAAPB3jHd8y9DmJV7cQP+10cqXYCLfQfT+UMqOn3Sj7IB2W2TGEItLVUKQkDzmNrdmhdpAlqeNlfGsmXO0IAgDstIIUvsMB/EHoBt73xh+upSEKFoCN04RPb4HCvoX75D+bPTJXocUDXDeeWSBndEomq6sAb6DRhx/o9vtF7BvOWAKhPJs1IBjQSAMroSwwrd5x3phPOiFmhfUj0K4nb+/q6H3oT/3+ghglco6TpOGR6Vb2qL6G+MUYLz8ivApXpatUSlhwgwkQ1ODF/ZA8TVKzeKwJuhzdDBcWolajkrVJN3v99/rF4i1ezp1jQZHzeyR8zL2p2C4q8uXXK0tzwHfb8KMX69njn0wu1V7Q9N4AsRLrSjs6zR/LjzmcjdywMsSm+nquenUyhtk8pH8TYc0bg1FK7E0hZItCD6CGbhYbW9LAHlPNHvPJRz0HupFXilda14O37AaqxXHaJb6+kKsA+/YAbL7GhbE0hawj6bW5FZTJ8OVVL+8O0pVJPUw05bePhaqbrBgqKgMSdxp9qtXZrK6eBQuiYmmiWA4wTMPGLeNfvpcL2+8WUOxi9B//a5+Yumyyen0GJzBt3BvSQ7GTst83g12qXlotBAoxBaaxzbIrHWnBSGMD5/2mxFnEVr18Ddv3LL/cLVe3e7YNJXq9XZ/k9GAsNpnsowadSL1W8WDpiHA3OQGxSe/UOMIY66ZbncaJDiEBEdtdxFn/VUX3jT4AgdKiXLNPmP52r5BoqzdeFsI7gJM8YxzQdon6jHjWE4954249kvNtxGNmBXvlDtI18w9CDP27Ng37l/JwHwxcgeE8w9MIOvbey7pXT3PjMkM4yc+/NDC3PeKjcn33sc7m2gB8mxxpNcoA6Qc8B3yaPkFa8H62AK9RlA+wyXrrEvuvNbbjuVX79x9jt1iljgdthDDppzZdO6Zr3M3C+ylhwqbViOjIDtQ9snJbaUyHn2VruFeo7suAbiBCxyYDjDtwbZJOj5pT88KuHdqKWPUiYNlcR2bJNVfa3EQXBOOxXKp7N5uVqTE5t0dOdmuqwWPvqRh2vgLJ2JKjn2y6PHLyVhsSqCXzI8uov7yNOFxBmyXjg1n0sYGHTpgQj0hAUpCnZPZ5y/GseeMkj1QfTagOsEZWw9f0mAXcUAdNWZCoW5+1xnjXdiybDdR8y9IXwX+qGab3UJXUCTrMZW5zTy3cEsGE35homMnRwlw5ocEm6lICo4uqX9mYUxO+DVNtzm4tdfbGAHdSN44n8CVPDuKh34hwgzAxy1OideosxhKLI2UYibrq3oBbdaaYkL57wTxC0VLri8pRhH7fd3QO60glf23YPBq+FODdY+INiJOlAOtn/NdXCgpiqAZIiiw7DysP1swGOA5peli/855IbcQaYBTrpd4gJ3QjeIAiWlF4+Hn2lqFzpwapVqgwmOfL88KjY+C14Ysq+oS84KzVYDreB6oIcy58GSZY/l3Vo/5IWWbvlMvTcjqJl5OolgoS+zlnVFZRUbQHU+lntLw1euHke9z6Preq4Ajj+YLGQ/qtCLUnaeVEs7sRa4fitPeIGSIpVJ2A2rtu2nBJPkTt4/jnRddqofVzdx86QrDMpj8arrLEULQBpwH6uZskSAHyGFqpQpZt8yH473YfvCCpF4zi+Bb5dikJZnkFahYAJRHXgiOT2G2VkQdA/g6m2C15Gupwg0xAA1tqedqminN3eS7ZN+kh+je+pW2YQKzybqcprgPV/bnIxUSuFlzuhg+rtiVT5kTTPwlkVjDNrYOgZiTOPna/NXcz8lBnEvX1iNJT5cKZ9Dg+dn00/jI58IlSwf2LW5lZDJoUgehUJCtA3Ymb22Y4aKF3/k2LBeTqDVkuP9KZx2U5jGhUaFK59BI8XZOF9sjAEdTiusoKYZwWhuEcdtajT613cHatbdEeGwEdNEV8L/p70/sq+sb8FM8b14hfAcESd0GBaSya1uyweCX+5e3K5wZrpp6Lu5QURXASP7AIKB5LAbVvmSjrxwHmaEVsrp35vwA8cRr4bYQIMJuIZHMwmlIu8/IZuZPIOJWK3aoEhzk4Zt3sXsHN9Qahcv37yu4nTJCtD3GUC9Yhe9SgePzUCRDBsoKbzQEXaQ2T72o9DI3UfLMtHOqvHFd5tRhBt/n6cl2SOZBtgNRjqc6CtkygDnS+Q7ofmHimuiAEjkqRGhbObCPSkLe7LKPsPTvTashQqh0i0S6OgoIqnaxrc9psNDL0+kh22GcDEAzg9D5MspkOph6aV+CqqaCanRZwo2rzI/N4PvpnGT7w7wflEM8RMHKeF9xC03Ozy79K8odsPJzAztd2HL4ggrNQUCueNoTBOvvrn0SexfyMTpqU3YljYYRDiDdr0SLAR8KBfvQUutQzEsjN8eMcwwgUtqDWmUURwjHUE93HZy2ROKQilXyvg6kB2GH2TgQ8jeLDvI42JvOA71t2z/aK/QXK4t0jFpNjHLTZlQMw8qnxTHyL77Jlk4nqrFj/Iesb8dprhjPviCNmNsH/xnkQ1y8bav51Na31hViL13itoeeO6xduVoBkdAzD35tkzDsBUYwzF/O2AWl+XuLWI/3IMeYw4MO7DUmadhbeS6VGkuuhjRZFJT5HTSBwoHnc+HYtFauOlDrFIjirmo0NPhhj2+8HmQsOOrH1B2Jd+xP98RySuZP6q5/Ve9fEFONB0lVIKKp9Qa+cj+kKNBAVX3eblXll4B8BxWFRkah0VuCyxSyTfDPNbHUwgDoGnZ6Sdytghi24r6ddqNrQV7xyr3N8tJjt3WFi6LEh4L14d+gzPBA+28625xlMyvwkvLI4uMlOx+n5gf6qocAY+KslbSyLVLLocjSoGgRVQGmBYBA8/9PED/XJMdv+GqULukK1WANKfMckJRvmO1V5JljGe49eANrRwMbkM7hxOWuAtP1zKuAtcDYw+37PbiHfpuXEKFcWXFrXNa2yOtE+ioIq3aS4nENmKuDLnxCoK+JU/y1vx2eqHIDi4YzEbCCb7Tc+uwqEC76JNj7Q6oMWKZt+5huMne3CcQ5YJLA24mlCgEl8q/RUAE43pabm3ADa2Se9LQKMOcSnmLT/+XqKSoaRGuFpdHE3EQWGTQR0EKFVLc5rPIQ8dw/4qrTVJzWEwg01gJqO6P/SCaM4GHOYi1LpKhIbnEc/ZLyEwU/zoBrAL0mJEx35bi+scfL9IKCLWv3JCnkI8RRQJQ98+Iky1gD45jupI96M18dh5m6x/Cm3/EMoAt2hIXzsFzJzBopjD+hY6ZwJX1wnFjXf1C1nsuBv/1JEppn4PmuZiixxYCX1PFw6z581RlyWAv5yI1I5gSPG2RKwMg42E6hGVw9HQbZQSUYzocXE8xk82UZgRf2vPk97tTJuVi5MVMPQ8oqx31wGHmtswjIZtXGOONdfydzNfDVxm5DQKq2v3UDvv+/73kBw2j0FWvdQgKSKMDKwnwdobF/QYgIHtVwB/v2M1lsUzE5UyxJ5pKUwvYgFLuKQLTiOEtk9T0F12co56puq6rmTj14VksMQ7CT601evYdKOExwGpabnhybhpF8/Hhp8FaxdhxMjK+Pvb/cGZ9F8WlLWUGO/x1utSQHkk3t+WUeDF9GHWWaIsnkDt9k0c4FeMYtTexFiOFy7kKJTamQzlPWvsYNe82QPfR+ERvPZJWCRdF7cWrFf3eS2yRJ6NYKE6PDvgOd3bJPI+2yxitd+8SeiOQeKZT+HGBI/T2AxZSylGoCn4cJa5/sz87a+4le9Me9SdQFifqoD5tq0wdaGwm5i+TnIDmM1J3xA68eEamDpezX6mX/keRTl7CP3HYe9QwJSwk6rfdrKy0igg1gXrFWfBRPRgF4gFUuUVrz/+rvJzHVUO9VStblw6q/3lld9hO8WiACYxN91K6dw16Tk6MqmJec7VBnI1i1cZQkWhoHMCOMhvgbUImW+kKm0EnjTcl9/VhlUEiCCu3G0gtpkUet+RdWlDMS9MFS/7Vw8OGGcDB8jsYz/d9DelsJNDcvsgMZiWA3dEL3fDvYOtuoK+OwXckFQpvZALEUEgPNllMlutKZAMuer4yWTun/zMrNgSWx9FNVI0w38eI6FdGdietvnt5wj6U7EqEg/C1HHIZ4JUnsVQeFQiR3ocbbsgof4wnHYuBLpJ/FiUklN9DTm6SJnmvNKgX3ycG7lGBd5uQJWE0z9iYEdaRw9A5rIqNUlHlPZ2J9PzFbo9R+x4Jwc0LxnIsTLL1xO4fX1HaTe25hpN4vsJQD0jsJT5gpW2eDXxyx30wY6VjRdaPU81TwB6vx85a58csJ46ToR/dxVGIruSLcY0ks9YJM9D5IR0QSCidP9ZqBzlNIBSvGpwOPgMGvJJWwArUiZt8VO25wVSqoPif3x5WH1GMf4PARlUQu1DSzgjG1DXnNEpJcwb6zSqGhY9xiuOpjbme/DlQmrFmWljuZ8+8NmIEaMWRO1t7NTLkeG6/cMh8XjvCupxCA6HQWgHMieN54PBq+ChWLZO+zh4ZfkEfR+rBAdKrxW8XrMPHEQNZdKpJl0g88s0xBfmoqFmYLUO7qrcln61/u6f862PpTGx6DZcArTOfGNoxNKKdAHGYtZW+QoBv5C7rc8ol1OsXz/hbNrDGu303uIwvJ6DMlZnNdrY6PIsz5NKCki61tnx7MTqVMusGv7XLtoOfF4D6NdeWya2SxHDe9JAFVh5VDFpWUE3GWEKEM5imUXP2CM+tyVtKLDH7/xdTkpZezQem6fg4e4Ua/BSFTjrx7unQFuX4/LLMejG1LzDGgYnp/rdxfraFn/M4Io3GBqRaqefB0w2GeS97RmFunac3GhocEx9CbWj4PtqL18wBOuVEhrBhdNNGOi5tLsPgii3AeyZts1LkBqEEqB1NgL+FBphPdIMAPC/Cd7yYBdb5axEnMO8hWV7M1DfjVhaMDhPd/BuQOpbNOYfsVLIR2XG8os7ArEOlS5y20vGcOESFyvNu9TBCmNyxinS3KLWH6aWz9TQjC36MSVCrxW449moNxHIoXB1kPL55+YtncaeR/ByAtjExYoNo/wFi91Vob+wviqBbdeIDYU48d79Q+qNAuw3WB5Ssrzi4N15S7/X+7Vqky6BQllVw3C5QEoiAlxlW2rQ544tMw+s//PKZ1KoGUxCjNYlLUsssFrphItDZTgIc4c5oN233NNRh2jAx4uq7JKRzDCnZGwBIsRVasCRamQNx0D2a78au2FBI6Ys6eUE+BP1YIUN7BAC3uOsI+QCGGFkYQ3Udkzci619+xsxC73G75SYU8S72LiDQ8Uh1CN0SMFRla8lSYed0JkGKRE6E++TQQljjZLn+1eaZkeWzvo7yIp34ooA5reCSty71wrq77gZ9h5AcLxqgsmoxDnTo/fO20Zix9t6RsFngmrRcNCGIvMoakpBzPcfowVWS1pwC5AdX9K/l7n9ZW/uzGqssA8aP0w+zXi5I22aN6bTnDU2WhnPCJfllmZ7+mxmst9JkHRo1HGuJ20J8AkAZHrdqNXII7E4/sD60UroEiy9Ry22lbWUvRDABgyN8LnrkIJdsqWwBHhGoEP7Gwlm8pVhqU7VLJ9tPh6/X5ADrD9Bs32CU81ux7ig6Qy2y+ieA4q9LiZlKWYiiLtF8ZvaDgiEAYEaaKXBTwzGLfgJaSnYohp7HX7bQlZcpkxdHv7dSlKuWp4EWPcvS04I/ps7cY2pssTBbaoJlnP0VG8AnlxG27R6wx3RjzbIh+DfoZiP0DzD+5Ypy/cX7+tQC1PG4+8GCWxVrWzRPdXceGgKfB75lposUR5nrEilVzMAZ+1Qkgsk2NNxwRUGwxqRRVLLFhPBMMbnQFkvvoag05Nj7Rwz2goH1q/IXnv6tTYagQDRfucTma3nTPv/riwAg+pNoxAm4ssXy8pGEtXE7uB8gWtaj3G4CKZYbzvw+USEJ8ajxGMjm73gnSywsNcHN95UrqQ1bLmqi0pHH4vnMPOCNKcUwYtQuSjs9pJGAv+ygeXT4/Ix/IIYxP7ryrW0wbLoK0U21RsDWlsi8IwIWNf59Uo+BV8fa921JUirD+n+gtGjXybeHGJ3niB4nn09TDZCxo3ITFxk6nNHTu8wOH17j+G+0Mh+BbsKsYdo0caz/JMsoiFC3g7DmRSEfW2U+FLXIZSwRkzSFX6uhWnb8/S0kAqWJcztbOLNEbZcONT5dv6fYQkkXzhxK2padJJRt2YImmQGr+qR05My7cVwOUCHrwi7wo/mWViTfpAMeBTQ9gDfMILwS0YQAVIi8zXrNmZhO972TT22Znqao2bSHzAzPgCUmfIP7NuVRvSOj+iQBhshWCwi8rl4TYsQ3Yn1N9XUTouA1LIheA2lWWRwxQwKIjJxun9L9Zp7Q9RTZLY+QPBXZ6QMbMYWgGE5lAeH2B/09+Un+caDo0kf0RShcgFN2mQgB784MZmQxlNv+YJjnTCXni38aRaO2OoFaOdItGvmVRpUB85cS74R0ND6VpzDjfQTwn2ijUIJw23neMCG6ARMLx2RohHTt8oKFC9oWG6zJSGjMyyIFkBhL7y6ySrt0Ycdlw7jR2+kne8MEWeBxd5CEeRlXFm9Zmzxt9HswNfW8dg4y7WVnbC0bcSv2UQzkD28VznHi3mBr3h/fY+CcpcI2Hv0uRIFcOE0iXTQiT7BWGlWh2ZPNkFELJxO8KDIAy3/W9bNxEc7MyJ9DRPr8q8eYInTkHwCBKUnKhbnj4N7G8FcMXLIDiA88xnxHAS/4wDqToOw60kwguTE69kC0216ZdtMniHUJXQ6aT3Lp0A0GmnsDTNcn6QuB0sdIPpLKjM5KFG1klYr8bS9qhUxQUZxwfz2L4+RUk4UsZT3sFJrR1ORNF0nvgwqMO+yPFnq3irXnvSAoxmtiOBLLmt5Jmo61EB3YB7/dks0IIKthD4P3cPgf3UNBFZVsdX8/LUdAvrmIpuF6QGTpkNuWbfGv0c8PhTDL3WL94uyhT6JwDmSUi2ihfl2QwRcF+otVba/MncOQJx43B0S0iOCrBeHmZPMO0cyRhHsKvW9jnsM2ZBAkcRSILqw0g5do1vL3WAlapXF9W7T7lI81iBD+FgUZBC0+KYSBMiYpD3v5A0v3GLJk8fiTgQpHERMhXPtHjyCoNv0wH6niB1WFPPVJay5ZWpxaYDylDP3qHU4LVzIIUBQPRrrL+ZwCyQqhi1mF8CYEd8A0qBH2xbMk0Q9N3TPONwJ5ZwOZ7Uj1gRL0aackHibOrBFTcvhLMVfpnWsFxaC0GOeJy2cIbnmY/36acalqZS7v+UMuoHBJrjAdNq3jzTtgq/Ag/0Y6OqGPHoSPFMPcC9DjcdXppS2WahXEOx4odaf4O4llR2ZuUVqsmYMe8it1XeTP3yAQYdpib2G8b8kkAUDjwEllAzjeklnDivJjumJdcwJJMRdMZyoBvAcN7wN/O7pm60STdcv4ZiRsQYy5Y7W9MFzSZx3PpTehZlrRaiodMY6t6J489o0NDE9Ir2kd1gNuaHUkju9N7yFowXJtP+ZrBlYh8AF1BDPSIcU3z652hCZXT94w0sfESRxgBId5IUrWf7Ibvc1MWIz6+pJKnJOImDxGdGaM9lkX0jkIgweZOnC6TqD4T2IPqeMyg+8Rq3EzeLPIdzxgRWBI8y24hc6nx01qlrneeYlvAAjvdg8r7O1H5QpvYDQ1YEcRv/hOgNhFfinsthtB2o9wUTDja04vMoOzQPEf2++69AZT/Z7blPavh/NcbtGWQJ4roSmiObXEFUti3p+avmmtxwRtmL/Z6lQbLcFURWvOF6rxhLRJqrQfxjK+ye/pG25r2uVWqBNEBfezTd7Y4nI1b45V7kovUDDSGFb/iQKTeMfi1PtqvG6TvuHHkiUIz5EF2LWuAE+CL3CKz2XwOnaQCAraqP13Em2gGWu7Na2lIQEAWRDkTjW15A4TtfmCyq+vtFd2KXgdTW7BXzxvUiPrwlJoDymjvo/oYlQYJ65FxEYIwLeTu8N2zg6Fb7RU5xeSqbwatVE8m8Iao/B22VT8IzQRtL9Qhpkl97iD7k56oZ6pPW2gNCK/jqD4iTJctbZ13GXGV7iPwW66NYJUwq7vRXv0JVrL2kMRW5zzAPA4c6WNnnRI1E/zZycawFFvoHl9BUCHqP29R+NbahxggOokw10/a+uYdf505arZdVtvig9V+iPz656NuKwRpPYAa/rL9LQexvdTw+eEletfQUG2/g9s5PlPfmmYRxyNxcrxOwGcG7kALm4uf+5r6pt7ltfpCGxlxFXe1GZRCsUZpCZrRU2Unqaco1QcGt8paxnJ/FZ4NCjfEIG3MIzyL27r1n0ZqdC5hy351vKreotVMN/bnJzxgy3bvoLc9WbScWON2LrFLIeFDCsiCupRXKroxibQPo2py9rKiOu7LsmjZ0CA9wMn9koBVvpr89BaMwLG8VS+XjIler07HjhWvAPgyHGWFMq5c2llXUTTeuUOlHRpRG/qbLPp0YCv+lhCLjo3nnyHmD4s418Kae0zPVp/Nf5UW5XSRdNV6czKuwO37fmehQwM5vlnan0FrfOYcIeTxn3kCOtNC0htH0MfBuyWixRRw0m8qRaJuIGEFAhxbYp68OCFW2A4USglZga95BLOJjYMkn8EgkmtfwhMBF1W8Trro9ugSlaPobKUz3bs/YH4svUzybyVpTIx561dWgBdHAC2jvQWjkdhvIYd1TYm8oCLcN+w2aGEa9reiF5AU6zNER7eGPEuB62dJN/qNmnAhuNnPIafqrfoeYn5YhKCR9JD+qvOPGWt2Jpj/ppT+h9Qd+ljHJKEX4pEb39yiBDxAaVk1JxHqXoTDdf6LJzdLjuQX6HXlg4RI+goMoUTBSGWOF4KLRjxyHH23bx+bqR5lGdZaVpVQB2/cd58RxS0Ukm52ExEhkzRXR0W1AC1gTBvbKbX92BP5YaNI6uRwuHuP1YoWk4DTz4wNv/yxpdyFwv57orIeY9DV3JB/LPjKZhYRQEYaaKFMRzYe/W/ldQHV7uZZM2Hx9RD3ixCstHHVetq2pw3F601poY6gUzSnPN2A/VCgK2bcv85Va1QMtphc0p6DM28FQ15F+D8YPV1k50hxyjnraXmFEBTTQH1ilHmx6XcY4uZlu60X4VZD8irrs902EEQhrE2hUBEeNi9V9xj6keL5yvVVNbw8Kr3Bf2QUzeBPNxUSQK3nJ4qwaRISj8LsMx8HAbHDtAerBlhlZWT7j5vtPCIQg96qxuVo5QPROwejyxfahNcs4D9Gcx7tQoGZPSV9eGhztwbpHmh3ukgvVsXaHAujra6t8246Kv/Zjj6lgLNLSX+vrfVML2fCesuqpr/1D1v3pMngEHG9UI+DSR1toWFI607ucI22/zM7505QU2RokONs/cCHHtLXa2leKoLD2qchXoSA/Idwh95uJPxusLxzBedaV2QzJq8LKHtErQZokPPPZeZjzhcyDdbSgltvFpy8ny42xzoSI7YcyPC1KUOiHpjNNXF4GI2O5pUkR0EouXYoc9DycUypAAQSpXVh1HkcJqF/OUdFqP2/JX9+3wygpaqZng2TBexfJX502geFLcjgqb8JodfWZZJumI72+gcd7OJrLGAh6MEYd+4hLuxvEKv/ATXZtMnQji2l0RKl0+v+7li6kLzRBTpHGGjmxFTtgn59+q+OnvHqE1VD24dUpHH7bao8gNwAiOWlsmHoRJXiYIdGejM7av2EvVdppHWK5nZ2HH/4jzbii74Z6WP9FCnz2/gUSBTTPsO0v9PpdXzLpvKryTGq3582jUK0pSuVTL8Ye6e85xCYpxEBRjrKnVl+A4mSS1iWF9k2+CDcWlkEmCIW1bW8hIGSlYl7nnZ/xvI9OxgiEd9hop3/y9N+9mM8tEaYvJ5NjQUR4faJZ2+7TnGraGL8Rsnj2UjO7S4WZKmE70BtOaqD10ww+NVV72OWr3JW6BzgjK6txpCfppCwEWqFxc3JvcVPUuo3C+bJqHnt/Bg3Hzw7MmxHVMAlRsy0zJjFepYOmac9S1fd8Ovc4HU0CE1gSeApm27I22NAqIM48TNMN8fgS4PQ/Te4ZH/iuQqhrGO9s2XvH4wW0wetX6azXpCu0rnaumRLe5QUP1+quCZeLzbN5soxxbAohqvC60IWovaBJe1yY+jDOFC3W2L1+ZmePmJ4oKj8yWpIhhM5sfvFancg1yl/scrJdtjp/wjmlfolUFf5ZBqzbTr6EMfnPECDg5IRfg9wCeq/Z4oMRfs2gLeV9VOU0qyaASLP376DBl7tYiybYFbDweob5rpCHf+Jv1tcRF1L+ZIhsd/9UinMqGEPscx1ChsJX9ZU09SAl6IKk0Pu7AYQmHdmJy3dp8UKcIy26YhZLBwIWQNODtER9h86OLz86zuOf4S8b52rYKjJkeoQ24THM/Gqa55KKKgtC5VRM9ujJb5JVVVQNTu4ZS54tCAMVBJt5JvkZoyDzxPgFEEusmwEn9UfEC7iq+/tktkaMn9Vl9/C2hN+sQYxeOWYpcafQEMMrzXurg0kRfST7CG4jgXFsXbTUJsqWR4DegiqsyOR7AhqbHRS9nBdbwMaOgA+4up6FwmFaO52YxyMmS6CH/G0hWwLg+Sb91BkJbeOW2L+r4+pBjHosfIjZZ62bddA8dssaRZ7bbxS9YB3LXgfapvPRADGTOY0JMD8SfQJLyTWaAfzWdhiVoLyS0LTkt68EE6E0Wnj0jwP0M9npguSCfbwlJX208/KkWV0NTlN0/hyLsHTlpojiikyaQZf6wmOnvSgVcr2SqQkwNQ9y+BYwNsUs5LDKAXOFypBIBARB95iOL6Cj/gp07j8imGJGK0oVmhQw/VhuKSeIwIizs9QwOC4L5Ga/U4dxGiq146SeZKnkfu3I0+FPB42g2Ylf7NblonR9q/ez2xgz3p5uLmkJy2/h9VB3dFmkOMoPnTJAisORUuyvoSgzMQgH3CFUNKkQ67jKXjF+EoZf++2PuBmfgd6tg4xsOqFj91EWRhlDRJY1fkDRUu+jehZi8kRWWg+NkhqWe+O2XrIu1a62y7ApIlwcfvtvW5T6BJ1cKNy0U/v3/6LsLhATYBBjb1t7e46Hzo59g+EaWtwR296t1ZtgnMPz2I0fAl8BunzZgykXddiAHN0NX0M1NjlYifz3nWZL1FcahHRPvY7ms5IXjPLhcd6TP4L5TVy1d6epnvRqnhrgj6WfwFULg2BUIiE4elpdanZzYtmpXeW0HFcc1qddKShtv+PYuiIveaeu+V4ANjWN6bW9gyVBUac08Dc4lBDai4LRS6OkXSxYLvE1mbmqg9XZydEyEVXaqxrb5CRy3xMXedsZZ2ntgC8yMA35+mahmPp09kTC8nAcARHCJJ6K4MgcKa93smNYSRZsBW4cbsFvmp29ViJtpvcg9u8AVcB5GhlDNNWwJHtJu9Exd6HIBqn0wiLS6EWIM5YnoUov9eh95UKuroCCG+obbIEnQgmZyZKM03Cesk6qEYbBejboSkgiMGi+VcNAtAsXPtyJlx9iQYIs/j7Ga+Om0pjIwF+3mYo3KA2DtyD4IoRSfGif5KGS0EHkD2Bjr8kql8+hC9/Tehe5nxa0tRP3sY2UNJ0VllHYLKzCAYkA4vJL+OgSzqsgHb8foVDNAAcmiPlzuP6Qi6z0laA1JuIcfYoG5qSU9E+4CYzbvuLZq9OjFagjZdKOMpoMTV1Mm+mMX0/sF5jGVmpKriLeC2ILNgTMyCLgvi0FUbYduChPlTqBr3oQXPwOs28g5f2Omk+xCSoEGZmKIGPEtX1mAPQ7roumjCfHIGguKHRFT8I8hCTI1qXZ36Bb6ecKDzUzj72U833rIMzkuD6bvDbt6uHiqx2NEZk9Xrc7RLDLUO3wZSXGuuqaiW3Sp34Dpa6ldP6zauxCW4P0JNIMuVQ65IUvcYiPGBqY9svejSYBmiAZcWNs98QhMdPHpEoGE4SosHmvVLKgXt3+Wqm1i1IIGw4Ieihkk+uDFMezxpr8h/XsxAeKERCiPNbXPRHXeJddojAZZp/eM7uC+iBz5DjR5g1LEU+UECIwEbM+6ZCujVIkz5GcLBbEx4hjzougQRnXjw7hHS+b3dM2g9YRITrWzjiq/86+CBzm+8obuxGZpAejP65Kt4WP+ZNR3Dlk5cTyrwiy/k0VDS9+0IqHT0L9pS05epFlFYNLRZxmrINhQ6ZM4b6HTnzfAzPhyv8i38KYSVjVnDA20Qy3QELWt8xC6IH8UbGzniGFkY5QilaXeC+VgKgkIYx7S2PrmkS52Bwyp3MqYJvWamGRgqo2YLC0bgHBJQhX70GTttLxf51j6C98G5SJtz83T6IDRVNSk0EXEzLCASdkZ8FU05KpUBTfYJWyJT3jDngHwP3ZjkCwjBo6xmu5tcAzUNrhGcATeH2ayFrPOWLs1rxMrtjEtA8R7nVtXqymN8DTcPMOtWoD7Lb8JBfm4aamJEy5Mgeg3BM+ULIpozjw6YNKrIa1G/SnDRy16UUJkcy8rmlkHKf5e+U+zth/DTKuOxkTnmGIRnfZmH/f+uhV1K6ARVnylQQzgLs3GijFYzJrsBiHlGaMbjvdEfyx4VXhC/qb2DJ26bV24hkTvEkqZ+4nqc3+An/6RPDYOYDOIP3SU3gdrTbNiMW0utbiMPCIfM0i/dNjhT/6ptxkkeNU0Bt6FJZUs+yL+OipWFqvW74PiTU2CrXC06ETBTa/bA/67SGE81QA7TMEC3yZhwgD3GVbUMp+c7oMmxFECQMcCXFOjjynTX0TMq+UWQos3CUNX66kZ3ziIoQnwWvgMo6fB6l2SB8J/CrHlHKWTl3bbG8XxJImCWxUFhr4RAV7TUdcORFiUCWf+4w3dNCQ3VKWBG+AitxR++zMPNuCIl/Vl61xRS/l8kEB7TasmtIm0H8HNVMJdXUL5q6+47VjlnPi/5PhMc4UX4AC2FSiAzB8bhDm4IeaN6KY1tDndb9OUPUhEvBgmIJxOMCnR4QR6MORPrlip7brjys4w/wErVO7z0GhuhQ0y5lclncAR5MIZ6DtZAbZzhHfyE2mABjJF9p2fXTIpkDOrgQZnwNNonZCXWhplYoYm+0ubM6DxkjjTY8LVz/fb4Vyw3TeEv3kkNvrQolu4rwkYNY1bQJEJ4khhh73BpWkJmPFAtOcnwO28FwnudkXSE7WeL9KQ8bFIR0Rca1JvPOHk/FcgQrD8ZbBLMt0tPCcIgiS2waLMdyUM/wvo74Z0+imBM6nc7WiXny5ZeBOuRp7uEfDESRx0URAEUFj+odhBuwETyabFxuXg0zEJvgQ0kPszdvRyeF+KSQOMhmB7mMKdgNv0vby7HHo7Nwy3Gj+Qpol3DRZNoYqqfgyR/4DUAzgneBn/QGio16Qfe68QUQf3RadK+1BVqmdD9bM62nKl5UBegJ/LizZk232jos0pUch796tZlqfbRojha4fH52huFG2EYAKwiTlWXTzzJuZ5mZN/Dw9xcENnhThA9Ius02oLZhJih96kLGmuwi5TVx/b15iubU1HftStxVO5l4gOcAyYhxqKmJjIMbUFN1XIHIjG9p9QWDp9278EFpZRq7Gf+xgVqnemqXuEq08j/TJC+tJta64ENZFE+pFfQeyhGiK3+7+j1cDTT3sKwawVGvCmB8UxVvaAnNfH6mNuNB9QRWnpSTbtumSjQds/zPvjEIMtViiu3kXkXQLt02I6u/l3S1W7iUWtEA9U2tfeAlNgLU1lIQ+8OWALBFTHbwy/s9NjkRezTDn5IZPoc9Zf68+A3QEZz3V6vYTWNlyTZM/oQXLmEwpfFbMccjxgst44FEqHuxvfkkpS0ozeVI6p9PjdDkRNFJaP15chdsq+B6XXvOz9nSg/SEKEFqQuroCGwhMJNK59oljARuBEjgtZdUWYes/0JFtyP5lZSGKcbDrVmFHTxlcKeQr4DAJi+ghQ2TQKYgx3Dg0vpmkuesX6KK8lvapJ7QoAUOzW8qU5Pt9icoaWtHRLBkpMfT41pphHZiFLwgXHDdjdPBpyQ9YiFgUoTBI/rrGDDlQx+CiTiOvaDSjHgZgq8w5kSbSZGFiYZi8PGz5MDlvkvuLbdOEGpTM23SRBIuVGV1LggfhatdX6A5TXEevkmx/QKH4lO0CwZtBhHalp4qCER3HvbrydE41XnAkIIz8Dok1C5jHBFJErnNmX/eIiGDd15I3/AAtTZqIe3LYZN20/572fL6luMGn5EvbOeKRhRoomMY7zEFesH0HxBRfMAwxSOJ43wdVpWJRmWSt4sbc1Gv+Xf+08CpltXgNSE1gPH0b49biEVeUbd7EuvU1bbL9bxnN1tGVVKnLfJn5ohxkAXRwwrT3u2yNU23ugWkcmxP5Rqt1iH5zmEkMm0f4mO8lsFvjBcdSwxlF590jQ6ArH67ESmB6u9gB0/LadZfNkFyHbcLXNlt8obykCOgpxEfRx4op2X8aAMWjxezZc0G0HC1ZJB8ncbQPICQAqYv1yJ17M2fFKpoTW4GVsnkt9Oz1BJD2goGU8EkkWcWoifP2zFrSwQhIpsnv2acdJJQY+45x2qqjLXBOsMG3m4y7R02XsxlmpouyIEv2/TEzka6lLhO0CTIcsFzFzaHK97xuTauIGSVP173DPUSdgrbyFa9+DoQmHBy7UtMB6Dw6h5C+UhzTiTtijstCxzfThogLvGTiqWjuIlH+y8tI9T1J+7PrO+l7eD/UQDhcdCekL5wTPldly1TQg1lIpvYubYwTHZtLOsKtO5bsAyvKEeT1tiSQgAmrUBR7LifzvznkDR81nueHX20hbcSFdJQVFlFbQiy+ACqL0qnnhkq44ugJdRM7U0pfvUVt2k5ANZ8dBqN2fwQWEv55gG/WF3QtNLhrBdq/17I99ZSEKAPFUhXkAjULdW2XXL1E/rNXKr5skNtsuQWQJWpcZNAV5JRgjLAmJXPWzHSc7lOWq5exae/+Em9c/qPxg567wNqZ4WVC3lTbRQemRjep45o2p/KkALsEE/TqLrgBwVanuOVWnLxLHf4hOE8d9Mm2jpPqpbHxaDRrLhFlbuYtNVDbg7UrzJev9vvhQspEPiybWhwNvZbeY3hKNGUBBjUiMn7glmZGvtxxhC46R1DFMut4qWJroRYNejONe7weKaMSvn4KeHMgPa7chE/1YO93PZJWqMtsyTRFeJ2Eq/NS4eV4UWXPCeThYw90RaoAJ2vgkQZVPcRqkX4tJStlgRT2UWopmPLZQyrlrRClHWLBzRI+kj9NTRHFFUhP56a4Uf3pBJ6m87R0OEwJsFljn3EsQOdsxKYanShqtvFnvEBY4OYveJQ53LbkJX6s1E3J/Q+VglAUwhXyQRqxdkPMdRIveg/p0UmT13ND8T24uNdicEn3ymAxXiIuHtgLJzMTK+Xn1oPy0i5Q3ISgE63oCCjwReqH34KIEmdY5qydrdtE8U+Th5gaKtaXxcwREX4ncn2yYzYx6XopaWK+KOdYfug5NDU1OJ58m80t3yoWlw9tkGXucOSHkozeBV6yZ/UTN9sRfWqWe7EhUPBy78tdsXUMbCULDvRQosmYFfd5m68IWGngMlHJRX8iPDe19li7cRop36IcV2M7j1/jEND0EGcOJ1TpyEsOZT1+/kU18hmhGEvSh2hKfWeatjiXSFunZNQ9FKyiDBg63goU6HKaL5Eeg+UjZtsSsKXKa6Czp3BRcqo7pNDlsz9WRBqAUi0B0CNvg698BJks8e/YfunpGvJQTXQ0R1WTNf0gOPwyfiiK/gSgZXldP8DfC1kmyzszRPbJAFenOFJz+iDeJcpLnIJswQp7LKNw3UID8rEfSxDNUkJKJ/caIduOKJK3bbYJQuC7ydiLFU+Cb9VQIdRCu8HM2wJhxrX+4bRQNaUKZu+x4hD0CrC+IVJSEdqR7zI1p48i3BrNyu/UpuBmVJXFMJ8725eG+LPLeV2fHqmVJlBLNCWPeCAMeheVUuTKPhs5KDCd+oBw6Q8Zqb3Bcjxgv3qsZHOGEwSPsOMUY/R4M+suU8NscAgH/Nmit/7Eh9XH/ftrQXZ4/3Oy2snTHk3Xw7/5Fs4J78fPmeiAZM+YSSYaEbrlyUxuO44arIwd7BXZySqJq3QbWM9Y0ccbZxJ4KtvhB9KdPGTmlXGodnZpsB32d3csJ6iW2jNkaw7keNnlcDQQkR71+Hfa/O0YEAYkMehnvISyWG4xsEld6MPwuKSIvJTWdPFIUyBPugkeBSpzmug9CSHISr7/FhU6KNCDOF6QaYQZN0OlrdZqIpz9ZpLPPJy+R9bBhWqat7MeqiP73/hF89idNQ/uyWa+ZvUpkdF0JpujmyWjaEiN65wlqn54iwxqpjp8aX9CMQpy90up3Frqs/+qbVrqrhq4EeF6wZmDTW9cudOUmVGveNHhnN4yCK0i4zCJXsNdpQtYT5GPFitJ0vmKOrEfz7q8ydbjZjfb93i/jMtQQs+nrxlUEu1jAzCw+unQTicWcIHrt9YrtV7XTRBYDatLUdRhmYCS7U6+sh/6k3Jfz0Bhb01K3X+oSIoGEl3bNSTZSuaHW3WNrY8SVKx/etdzY9Wicv3oPR8Fmy29HCW6ceRZEPa4OEmz63Ygiq//QX3ER/Apel384oJ23ytQbK75ZqKxz0T5lVwHb8OTr05MAiV0dlKrXVN8928SKbgJmfRoRFMVyw9nV64Br3ZTqlTFIkQ69WvXtJ6N66IRXAI65EUzbfigiuALdID0t+ynG7IhN/coYkOCpy6bDGcPrv+WOWDGLFulYOdqOUH3u8rVMDdRsi8pbUUCUqTkv3qQJuuJY19SkTrseLeEvqhHptiDT7DlSTnDNX4ODLGm1sfXEx/eDthwIw8bqDjbrueTfAv9HjhMZM6p0zveTHFXE+9FW2RoWOGxVSk/hkB5NSC/MgCMUq12I8783ej+UUEX10lCxL6/LFjK42AX0LosT4aIfSCjNqtV2tbJ7vPnnHFPDCVm/RFaBK8eNepq7sp4RwPFaj16y3mbRKnfBXPDLNHxz4D/LULlWUySEMO3vtwOoEd1ndNnWLpvuKlEcS5rBLpYT11ZaziMPYw1QlSGCsofqC04ighk/bcbrdcqIapSzX8NmUraadquhD/vOgqOJOJyz1l9cgNGmZTqci5DQfiHK658wiOL+cldtRRHKUpmG6IKaE4zRo787CSgYBDqwmJrV2GExdJIYhMm1KsiWyHoZtOzv5k3S2VvyHK3onuLOPNYDj+I2Zr0MrLu62eIcGCIDbFfBPlWmUa7pExAGA6+FYec+zrosAEAS7RKMsU59U5n1NjhCp7gnT3gdxMTEfWyif3L8zVCtaGl4Dt1HT4GkM7Crdmg+/H3LsDUVT8wBQVcm/RqfNaVMZD01YgIh+dwjJyfTWY4MI9xR74llRU2wTg0/LWXzflNl6/9FOFETUd9svd0HgA+G/QWA2lhsb1/0ybcBPl/Gaxsv7eFEdnCPU+pm65WCAl6YMySWLqxxuOvyaNbbZ5tVkdAQNATFn9/t8aSuY7SGoaO6m9pmQbJbU55p4BGLOUmkF5q3UbBqsqVDLfC6yRqbqKqSki/H5nYv65aHRlwnVN9uxgmSDfPlG+nLmCj6o5y+OA+oSMutJocsIpE3O80geUL1/rdFmEfGFpwGm9yIBak5vlH5LfI7VZV2QEKXXPVtCLE5UGLZ2eNPMv/jYbOmXmmdtWP0NkjViQhoE/48a8/xvtwBgr3f/hy0dmhhv39Cdhwl3MbhlTbEZ8JeOSFn9r7zlHSKMSHUZthUkmV7/wt4xEL4aCJdZuRzP/1Jzi0gx5kmzScfCVKczl2Oyjy2gsmlWLUOdazV8dpq5Gma8f6jg+aQZ2sfRSeOsnygUMJCvCALj9byw++BW3Qf8rSeLYrU/LUlt/FFbZPzJtZsCTCV/I8mqhh8GeUg0iRGjQQlsjzEz6lpzgOmsZQFKlcwecAGSftVGANfVDYUxKSnqQca4NcEYw/kkIqyz30tTqRVaP5a6WRDmT9gmkUtQoieu1SsNCmbp9oSv9gVqwKjzYrUrH12XVspzZvi+nYjP5iyrNb70uHVvxr8gADyXQNZ/EoSShDG1Z7MgmQ/HAajO327J8pkKZRFI1Hp3YqvlRYk2iqdhSMqudW6oMZsFuwBg0vXok1T+1Vzf2l3+8q7oJnNgDAa9E5KVGFG2qMr+AwBlNYW2y8hfMNr6ePihZHeugG2mTvFmbbVsbqsRGJrDdS7bjJe8OzOrM58spnUVvPtzhrD+inyXidXxB+GtoOctnM3Ui8jv6sKw/p/kdEyA+2KT6iO6MlZGNsqsMqbI2bxMDLanF3XgZ9RKoe//9Ae/c2PNmua7aK7mMxZ5t2xaOC2xesjTYAje4zIEoXRwBce52BM0kefKoSBgoD9FWZSqqbU3tYY2WODBBQLN5FRzt9k6Dvt59KCGxsMkodiR7DizLcDOmUX3VuColjKjN319PVS+R9jACAEqyqOqPUk+zXTif3c4v9JjClZSkiy0tysCdC5LZDu9AY/UIl8mxqkkLcreybwLvG4r+LskFYrg3GShTsU5rax86tEuVKfXg6M/ficJca1SWS7hDA3EbNK5yDSKEb10ZuO87LtBVIln92NdkHpbtGWNT4v1UDsjlVH8NehQraUS3y+LKSKaqBzd3VtYewmNK9bHuIXN3H0vN8YvFRwsDcyXGK0XwCwxwmWpruABCGJVulEzqBG7e0AMRsePz3K/fBVBiJL/n8+AjiAO8Of4iYTjQrka2tFl+tE4QVVaGWV4DIxKOtX0ixG1sNKEKCJrcHDFP2rh12fVcmywtrbt2DYAwg8vKXojDYGD2/bKpzh4WBEzicYfggV2EpkknYzDAdhQ2tkkMUmPIW3UtNA/bAca6n9hj/LPuDNwaE/DKqc+oZZwCmud4FEPGOnn54A5b8mkbIQtWKOy0JfUsGkZ1qrUhHDTdW/oJkjbHagMbYCUu76JJoek53AfvZnLg19b1VdNdFq9aQ0/EszLO2dw6lqNGKDlbbCx0YIw0B/Az6UHSv60D1SgXWajazVYlW5Qve5Kngui5p81CZAZMza0KGjbYpVw85V55nBaLCFIgHH5naWzpMpSd8TJwSJ0k7aSMNAZSXhnRmRK4dOcHgj6PxaeOVoUF2Ru4XFFp1jYQdobbshSj7+bN8Bky16DX16tkNWkCocZv/t6y8FnNdE6TQ7jnSPYhS0vpWgLj9//N6treqHO4h/6Km3dNPijw0gyU3fBpx6Nrr1Aqxm3LJudKrKvbF9VEVJTos/+OKCKRzP0RJIjQdMbXBshWH75Nmp9wmKCQpTtMw54urKtG6AUXqQtY8rkOuRhD5Oz468o5Stl6bWsY5VsLQm6NoEwZg5StuM6OdZxuvpk8+Vc7q4PRjt5Rqb9zcughBkLEcV58rvfZZGqAjGqx0/IQpcjBDMZ9CMGSBJromi5bUZkprt4i2NNU2ag6g2vzyRxI9fXGBnkHi40fOjyCa2yQAZrSRkrSR4Dfv7L8XIgn1xjpNnVn2C/nROj4ec3y7FIaxROLjKW1MWzr3vIkyRjXkJM/s2enEuaIEzc5iB9n9tm2eR6jlEo4ry7R58kwPRqmqgO6KEThMNxg/nFbEGXgQWBDcL8tWDN3N+PrKjrO8P42MWLPAQxG7e65GFs0gjcy6nKQCu12Er7RSLloTrhEmPbIwH5g/0l2SN94lxST+BhJLM7aLDFQPXG9qj7nKD2G9CMSQqsu/EO4haSxpo5KoIY7t0gDanYh/P5GildjzapBfbnb00piz/2sGw8feYtZmclLCHOPFAAtx4nOPzc/k4+WX4UqOyTFNBXgtic4PMRdFYmR9hRRAh3uyb7xRuKgfWsFBwVrOYMRSrYWfUO+g6TtwrtQNqezacRfdLuzGNqfxeUisrC1+ZRHQb0gb3UvX5Hc0Ci08/bCMRc1K0ntxvAeVMAWZ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xRdLyPBQmwFteRcmjXfmIFbm3W0VzdChVJMhV3mHDqFd3n02aUFWT5uGt0RFu/sjMTyHLU5gIbGEfHz2D6/7SsDoDD9FDda9aiA4RUyXnpHj/EyYKhb+okIoB5TS/1b1l5RlmCRu648ZCnyXetp0kj4nbTcJTFn/c9pgBMfUjvoaUnCmxhtyug2KbnaohzxxiHEB/u+x+g62EimbKgL74wwUo4BgSdn20AGP/SRqm6UihkWvUgocBU8fizpDTXNs0FBNUZj3gScyTv1jtq1fFjXw1n4oZafoWD8IFMIk9tP9mPKkq7SxSejzuV9X/BVJBm7j948wKzyavAWftAURG26gTb/SG0Vpw0DhZFsQu7jeVEdrk9UDn9yTcCnnkfZA5oLEMCgGQGaaFQvf5Fg86IwlRtZ3QNuJgglzaWrmvtyOODbaVq2s7KOB3aRS4+PRtzbcD47IiqjYP1e+O8UWgv9Y4pJclnv6gLvBVTJoGb7SyWjIqdg96P+a5aAxYtriODkpM+Zhm64BbC2fLQddAspf+1S+vkA7baTol1h6BSRQJtysOjT8LTTiU20RiK+ZBqVzKYWLmkBH6mQhM9jqKP1VsoYiBCZ0OjrzcCAxfjoVzNauVvCm6VpOpOMpz72dbsPmDyhZsTjbQzlJ8m0gwoBEMtOlZ4Xdfde3T3CKRAvtKZj6p4hTAw0tcoTO4xjtEOy0osr305PKAxCfIdk9SomsP8Val7U1DJn0Xccr2noCoicIwJxBhJdPI1XTEUDhfLCMye1i6sy0C9mMbf7aqh0gICrvAUbtJWT593+bnela248FRy++AD8oegRo2b1rXwFKmp5t4X/4ajVzuGe9spVq+V51lrLwfCk+QSoAUNCGsdtKtRKNq6V9pDY+1nQhDvIMPbiwQrHjL8se/IEF1i2EsYMpLoJyE/S9ZOIqp6Om09qsna7Zx7ERgPJEgDFrjeG36IVRZ958A1FGl+ze5roeBc9r5H4zxt9GJ4coYJY/yu9Hb5HdVl54ATW8eMyUoRdMV7TeMoFdFRzIDbxMFWO5AYJMJXlLQEED+AicUN4GAAsvbHWgoDu5Mkgty9mpsQOUnoc12bIwGT3IbyPFn4URfwIUds6dFqe/viYwOrMDznRlf5AH40gEvLg6GBtoRMzWv3yZLh2C4JZpbgj0wOUPxrms3OSWzi3RwDwHkE3FC9+61vYarYZb7iHSqeUECtCh3xRTixy+QI0VX+Gv5yR/Ua0FAukTIlVvdoLwHrGO98Q/tw+52++ms34MGMtCamFzuwK8spa8CgbGm4GjG192fx9Iey7hmEVZAPIGkYC/gDuTlPy2uYGQSwJ+MY7NkjjvhBzVBWDb2oNRXmbJlqJ2yKy2WlyZHF7T9qy/s6NeKoFzHaGAN31lHUTUAaYW3CCe+aaR0fhj8X85/7sIVzoquDexOR6Kmu719R44zcnmumJwaDQDaKNB4n+06YlQoWp8BgUOOfiOpbp7L1hcvAEk9+c4ddNiWFgx2bY4/VoeEAeuZXLrjHvG96LfiEqzsOO81601eKgAvAGw8zC6Y0hs7Zci5AGsg5W+uGTZwk+H+qbxRetPXORQYj3Z+A9e3QZDXpLKx/JK9NiNi8gz1wY9s/oupzPIzLdbO4LK9IlegSF+JaLCXnXW5JOWAfq8NQ2F3WCVelgy/1i/v6JmEB6WSX0mjR3M0IMNtVzHMzs6ssJt1t+3SM2XcTzReTWinfwoae+tIumb7Cf+dPKyePRZgFJyTfuzEOWTlrjElKtLAq5/W5F79xtZbXut8c2+PEejgP69iYPoZbExJ2G3/i6kroa2UABGnRfa3V2LsyGxRpdNcO1iI6JEWJaQLPVPEAUG/VhjX8FSdPon49Ib7sAH3SZkk2vKv0QIcs/MOs/wqqqWTzM8n4m967CaOB3DfTnQ3WePLhL62rdZ83pUqcRjcvzEKKPrMDjhFbo5BcVQQZ+IdtXEWxnst4udIi8L6BKzkJW/bayErtygGYNuPHUOMizYkHppSKOfJYDELESxLRnKVnWTQd70WbWf0VzvV9/CPkFob9wj5plvqH6SxYPbXYt6eR60kZigi38e0h7qSZ5w+LiUCZK1iKzAQ7eM0snZ6YGKd/NQb91YFdm0oNfvSQRPn+ZCa+tsbgBvN4lP+Pmn3d552XWC0c2vD/oNPDFimitpgISJGvIEzJMb/nLvUTnowEic1pTHRrc++nuCw5cuwDwF8hptsgbNSTTvo1S7IGcfJ2ELDsvPRp7YZBXeLbJTJPNJ0tp3sy4C4CThTgFIgDB7alKPl5ilu+FQfaqbg2HxF5l36w7fSx7sMe4rz1CEeNKLLXukDsb8M/rbhCDdDeg8MlBXYu34bwJp/3gFBdjn1YNRxDbpkkLybUPM+sIpR7drynbvtlBS0pVY9rkckPNFdwXo1w9x8UwUF7Ci5i0F6OzV1s2nL6KKOyp7XxjgfXOr3ZhYOy37SUS2A3h4ubhTRTburnvj+xGPFT/SUQgdpYeXT+4lxPZEVy+cz2FTtdv2/G9HHr2Ay8c4WdetbeMu/vv8Nl3O/YDWv+O7/qFT1EIJBfIx0tji2EPhI64dmYHoAjmIV7/W2bu5v5HyFkrkPzGzfFoKnQGbsCdsASlmW+10ap2Mhle8CtYqzVuZ0IdbmOYApiS75tLh3T+4ekDbSU4jGHvoAn/czQEbr0Z2ScXpcK/WRxe9GNcx/mFhyEGp436S5sNgws5lXtRcbXqJRz4SwRv+A5d4W/YYXL6mfZJ+D0X8ZFw70TPYFwmjsIM69CDjDsYVY1jEz6R5oC6W3WnwmpMRzKU5aZIR1BDoLF9pIXZSRNxDWEWO/Nxz4G+t09q46kSB+jDN33iTwl10bHvOsWl7GElNwfa9jo8wW1ASig6kCmEfzcpWheu4r6Wka/HdLX/XhoBqndjwb8Nflx9CgalHUJoe6tVgtTeTPghJI6hxThIJdEEhhlG6D8VQGYJt24bthDaIMkrr+03pMwErAnVghGSOHorStmbGEtuVDJyH6SZl2cpxk1Nb0EiSrGTIBVqpU54eynpuV0DPIjZ4G3/Mt+Ap/mC5TzfbTKKmJcMiJnWEtJ7QqsDE9TCnD/CAcubW2h1Ola3pxYnviN8KV00ljMxZVty3SmuWs1RdmrnnYLVhzKuOFFIn4ygvbYOWJ0NXW++AWFKkTn52O8rVYnanCiRePKEMsTLZx/TvWsriC8F6ucN8kU67Kpueyw4JVMa9a2OG07kkYz+QAteJlfQLJREO3R3SSCjWIWwYsZXFlwsP7Iz+jUtcwAN//fjeZ/49pHIa7e1bv+v28kIpAAuRJHJr2y4j2c1UuqBgOu9VTnYep2MUFJ8ftgIscqV/xwlveLHS8wv/mGtpqCUFsBN46rQ1Mwckq/Q1qW6FpUswvTC4N1ET/gyoolZbXgxPu6ysKYtlKe0RgU7/HMP7eP11OEFGmp3kmbr2uOxQEB7YvoIlOqnFiw4mbns0wQDI3KLAGd/jgej0KqPhF02zjDS1Mbon1weTpPAM0iVNhY5g2Z8YhXcistFNmjvONVfQArKRaMv7Xk2/auXFL1r4zTdfaxgX83pH/I6VcZhjtpWOkCNeY8aob5whMb7PqF9hrnw2pVqOU3klP7mdLG3kx27Ujzy3X7YtJfpGp36U2zbsI9PMmsRiqsJNW/pq1x1K1i9B7Y/rwHBWyTdYKA+km9Mk7OMhdvYBvmqWjJgX0p2dXS8wYO0uYBgNya5RqhCJUST3sbFIDTTl0+xZRDIEEYwC747HrfAJqmVUYI2hKZiQpDURKLn+V4mTT7hhFmzvf8OrfNU9kofYy/YUsm2fCq4YukFqdDBau30F8XxgVc8hA1NQWdGM6tFoNAMDPDLmxDi3so9sKzfsbSc0aMS7cpILzbQoKghvtXCRnfy/9qtqHNuC+Z6iHDlvlwvst16FbM+V6fYDPsnAbCIilOvvKCoHD2XscV0pY4iEcv7X9Bfxcx70AEjsaifU17eBl4xFeGMAO5QG3I4TNDEO7M5LplerKT9jf62nEA/KmUDU/Yma8mpaP6bEC93d7R7bcdDI1xeS7Gvem8tvp+p/a70OrcQxw0b9pRLanMKbJM1j1Bc2AnVCQgCp0BkvZ4c7qDMpX2PZCf3gB5Sm8KznK4d6Q+R531D0WWF3umlb4TBssK5e2rn5zCvlKbxnIA0q1U2ikjyjfaDlD4I8vnmMtDxn67SjZ+GqmXM2C6DfyjLYTj03W2Ap6u2H+VgDQXJ4NcwoPqDujsFXxHJ20zxHqEH1fEjxvNoVc7XjU64wy8PX5om0hjamsa9b0DfrwlSXjf9W+JzrKi7VxCPUGGCvvKBAp/o5Gd7vL7dbR0gXmXNM4WNrvPiAdTN3OgubEwYzBBo+80tWnntftW1LjeGGhtZhUMInhKshCnRkyUuLfRSVuGD9UVijAG4jDOp8p9xc0ZH1GcDZ43zEWCiEcPamCLrNVzisBmJY+sUIYzvOsIMcVMAtC+81ILZCOAnELHQDg/tqBM0Z+fEnSzsuqAFBWUkAAWpa5bncFI0lECM1vjGpEq7cnLOyoEy/aNpKD103VyEnoiBVA7atK0RDFAqIyMlHICeVWi5beKehUjnipR5MsR8uLFpBBYIJTHzjp/EBVFNpUTYhezgub6AQRBRU4Au8C0YvzxakZGx007lS+GMvP1QzsrtnA+eiCYugmGfasdZH3G5YW5wLbani/POPKkZ52VazNYPjgrwkBoMFZEsX2CAOul+y/kRzGRoLQr1/GDQDAypTV9p4TJOiZYusizFa/ccuXG5geqCFfv9NhGtXjinLKo74HrLzy5XWi1LxpqDpse6485jl3ecLUfh5+APVQ90K9DgiqMDEIxCx+UXaLebKxsZqw5c0lds6w/0Muf8idOS5TfnC2UIo/U7XtnaYtAWMnsKHgBzIfFtGiaVmRknE9t1doRvJrAI2WWaC5+3/JiWJL9ucGMx7fHyXaiIhPIuizHRanlXjf1X6Vu/FmkRhGuimxw0ooqKPZN9IY5/w7OrGa6BnYzP3Aatd45CefBN/gc2NwcUBAUpwEt/02daVXakAlpl9RMDOr3Xos4EA20L+3lyQUsQIpuChjoEXgkffhCSPHaDIYEYZ06toYKT1c1o6odwZPH9uzC8To/axZfbmkVZ3JnEKRjz06wkeae8BIQXMkPx3A/MivaFqsAntdeoBluSwH/URadpCM8ZAJFw5CZVORiR5yHc3ipL2l+4+qCSFDTKI1Yz3+G0HU8mjZM0eTiKyOOQ9IK4PWROZN4qf24mj4V9WwELeZ9zLgk5WJcuNtyr2JU4SH4Ixv5mTcjbVLNWiCCL20LQywJTbqy+dU8atYdj4/5xOvnwgYWxG20NZW2LZ8ufnREA/z8zhUZxDArDW9jnL/caHbtafd9Vq3qloOI1Jw7lAA6Gt5v4YkS/Tt+msGI8kygfDoFmL4/r0cH6j6QGs40DTXEWTNtuPlzTTr3JeOHhX9y0IKWBwymDg9sxn+OeH9lXRriS1TpgzblO1BLEsaz/9fOpQBaHD4xPouNBe7YobdZSt0B+DPxxxPQYstyone9N/CkZDdLCn0fXEacnkgStPwJjAsQ1wmI0jr2ROmhO1QxxJj3AmAIdOCDZW3wtY2Dk33HhFs4qVJ0ads78eLuxkaE7/ieBKxZ6NrJbQxQa2kwval8vYAGVJp2JYTv1X8Xht87LtapHaZSd/+/BR5RUVPIsXobRPxso6VlKDzflzPbsG3vv33UFrAQZik3//5rBWm5n7QLt6Ivz30rFgSuA01dNFd9e0sCooYjQa1wV6nNQpVH8u+FOK2WKWqfUmwQRT7ep/lN3aon7CR8RGpbuZwtR47xaRy9NuP8ZQlXJIvN9ZTr5pKekJdbcBeiNAwiBzagHDiRXrM96zN0G3X6MP+6DjnojC3v7v/xwt6cIzh1IhaWEAZSMUMTqcP9gF+unu7fRgY9ph6TtgG3zlmn8SwheP6CDPaBqzdGKu+Z8TpoOhCR3K0JRStIEsI7FFOfRgxLgiI+l/sUn4rtBSD+BEt0qtxN5cbRf5E2/HQ8er1CS3YXo0xZCOoKVkBNJNsMtRR3OuWjttjKf3K/9unxsS5AM8kL4VpsfWtfMOpAFoM0ZsvYF3L64ljVsDp2teTlEAxdicOlWS6siui2/uSNsuSumo3tQzKK6jR+c/KZf+9WP3sfHfK7XCsEitML3f/Wdl91oDCgpwSWjupn679UoNsqb2hqZfpmH+MCNzbb4cY+OZNLospHQoWWVwvxAgBAC4BmC6RYmkK+XChO7k3aBC5m1tBntAkjjuKbcQGFySdGBTZkbztHiL+5F+sdrvt1zfkYPwNg2wKOEvy4jROGTXbVjfroqiIK0Mcr4CAvVFu0ac5yU1AgBFL3JmOSyAbpUyHgxyMd5TZtShaPovOhBkMaXGVrOu7HjHRku3UmXP6QFkw26c1CUT7Z3G8R0nOKQJyc5NhAx2i/1HBiZF+Y1pKWeU+MVbGC5naSXFOYpDoBheuyEG5LpHv82NQpP9XYky3tTlqrOm9rggr2gNGroIiBFjDeWgdiaU7pokK10a5dQqGIICpRmi2XI0pJdNFHHqahmi8vooe5QfYHUhFrvmBf5USCwwTFbfvn0OrFzrKKdpfFr5aARyGChtDRSHqzY2eSCIGN86XA4dz3zEAnB11zjWqO0sSbcc2OM2g1/TNUYoa+BNfIyO72+ciY3x3ALsyk7kiZjJed1lR3EVEio7E+wwG07F7WPnuYurivIHuSd5tl0Y1VY+ilGkhQHlAB7RXW+5WXO4zh6FTSBf+gDDCFVh0k3n/JrFPpiE2twfaoq9QLFgRCxVwNWQp8GIYchd0sCkApMsdRYkkTUlAdok0g9XKowPkRP2oosT9H4HCO2A2ykixLzYDKjqaTR/EYqHbZEl8u5Ej2YKmZV6Q2pO3pl+agiF3mfieEu5g9VwPRvqtntDdAPvImzEj7/uD4l8PH0jO1RDSluJeEGmvMOOWLwGtgYvkAByUMMHKfAbwV8WduKDg775f7zkhBOWk4A7gvVFiVvAAv/C+YZw+FT69wXuWwBJd1bC6UOPJmg3uwoJ5PMk7YDQ4TwTfhTQmqDmi3np2utiQffYypYKWgXNkVkzdISGTdvZrQ5qMAPnqb0EE/x6LDCE7KXccX6Lmw7E9c7V+fXM5K0VPSRS372wTg+sUmazIksCcFSx3e08/JaISKQxm18Ew0n/yQZ0DHxVxOg2TWoNApgGtkcCfzpxNF8oOzCJ0FHKIp0eLJtWoRK7yMB5tQLhSgCJPMo5SR4h7OvmQxmozXvM54iHr5EdGV9Yni824LUEJWC1fDs5SXvVJR50l2xA5VW0osOtsN1fzLR7K7kQNJSVdPYA73V6SdUANpDbWDATOqJ7GYsEvcBHPE0cNO0pDWCGF+WYq7uvgfAe3FsH6hPr8cBtkqNC2iu/Hn/XSDKOBjvX7gdVo+69hiXC5ULZcI8kEVFV4HK+N5BdPxfCuQ8nZkXNnhA+G5/1T4G1MLQvDhJTiJQF5SZYAmEhASWAt3vcTF3bwhyUA+Pyha1MsgAYm8Lg7U+3yQKwRMQMZjtJszW3WuHMIRGHW8ceckvGmWwIrE1OQdb5m+/pcTbRuunR6TEZnQ1ISeNowtBy4FxaUoLqoollK9mtf/JoNqTgyi0+6sw2A0rYfKttw+W8YZA2P0Cbrg/QvQeW7cTadWK+FYPtEIow1SVPU6LUKFLnY4ca+EeurbCBICfai0TA8kPH5/SePczavI/nCYdo0cra1fFVShnq2ZrySBmZkpgiL60g+i1H/2ZN5psirOAsdPxJ3kaA9naFRGEucYpXeeJWpf+8AEUsq4eJq1DKnIle/EVF8B+C4CUXNbg99FeCxPtGP/ipYHgFQtUhsisS1LBViLI00nX11CkunU4xGvf/ojIXvEpLuje2Da3+uvVaIdI+PvQ0o0WbbivXXqJ7qDNPSFzB6KzVxR4mlseGgZMrq879DxUg98QZtpkt7EWkpFp+zddO+Y1o/u67UxQcXC/P477a7i/VSXZxmYQo5YtcbWqRdkvuup6f3U5UJGime7dqFgQ/kWInZ0RU2Uk2ItjqI/X0HxMAL9Q0smAVMe+T+ImpzUKmG7NDl4QZjIhC/P8nj48d4Pq98f+0nMV+QSEJmWNIByM/2+aEOMemeSq5FgdWCkEJk4vrtKuZY1rkPeK3Gi4bOnEG6csz8n6RycFKOQKiPCXtnKUdYphY3bKhsmdiexi+jdD0z8XYtoB/nWuSroyCyb1uVyJ2yeQmxUZfHTzTrl27zFwrkIsfKgAfmVzVMbevoxZekiZyHrUdZCTCa43u6+OIUoS54FXQikNxsEc/5kaSSwxyNM7F8AZGdhOuyICcve8e8gzTmEgWWr0wZpfaegsTM1nVLeWhJ2q/OMWOofN15z0UvEw8bgwZJNAXVvkTJsNK2G4CzzWWsU+bFQn6PtPMoP+Hm1t5qU7+4m4TOXgqC9WEpCrG5sO106skySiBvKrRp0vqVk8HPf9ffzxeiE5sVLViOo9o00REZNVaEYKb4h2TAmTAvTURpCCPqo/e8yziY60TcLDUFbkc9TiE37VvgIDBYz6ogthgfeHzPSUk3l4kYrYRvk1MI47nPkCZG6hdn7KKM6/QIyir+UqILrTl3tX67XE9CVWgKv2jpey5H/6J88Q59Qrt1YZb+mkWgGnJn58+qvh0t1JC4ronIZddXivhJOP3dvTwmI3pDWzkpi+bhNIZrnMfqzjM8gyR8mOKKkeWrF1HqybCRqteTsWGuA1qUv3v/taylbdvHmDtJFHugLxN5v1PJ1MvQmOyE5wstpf5ctHG7vvmQOJt73+skkybTGW+a2GozXgVtErawxdkNZRqGaxd+KOdoq2UJ3laYjCirFMWLg2VmtWQvNyeUsJF3MI7y+XTU4xveUA257siCyGuemDwIoy2ZWVa8qloW5cgICI17tSrCne4Zps4pkcBv8ImMeUHYT9g+F4Ab7CAlEHqT3qwOKt3O7IMgeelcVaKTvb67qD2f6cwWLRlZeuoUXQA076UWon5fPF/UQl3tlRnPr7mzXIgUW679AUVe7v9dCy4qL7dhzd3PUcU14Ea7V0RK8BLjLOnEr7UrQuyefDIR77NcT7K430WBOH8D0udpHrcmeG+bKkrEVjh0zx45oacrQtwzDgF/nQAcJgsqD+TZyyPJqWJHQ/tK+40KmZHYJgX5d7c67kc0nQF1m6fROJFAc+kwTS+tO+MSz0Qt8ZWFjnhEZy47rBQwUEoUWRdlUl5imrpyEBg3tLO99YLFwFQVP3bP4llgx8Hgwo83WECaxpufiFqQiaWf+XctA9p7Juf20mnojwX23/x19rpsGNgVtmU9+pfGNbUzgb9yIRdSZRiRnL3es15tRvJR1PImlgFwaXGHadiGcZ9aCW0+u1B1OlsHl0jWTJnQ5hVtS/FN4MYEC+MMrt8IOabnHhT4dyfuUGexjsgfq+h5Z6nTTKUUZMVX7h7VZCNTadRlvbtfke3EvWk7LOzBdqEaaqSOI+r9mWcK4k3EBFqOacZzox4N7J7wMvrd2ySyZkB5544CJqD6pGlxLOa4DXy//SUywHGEHB32cFvgQN0O+Rq/yl2YxwzjndomjGKVF7Cse0vDam73aaatEcj5IVwRfR4CU7ZQkmKpb4JFUB5eQnzOVjzol380cynuTXu2EhCpbI1SEfvIBneNA9Yw1k8oGB27j+GtlgsPtzJIJ6c7LmQoZsOwIkPJTAd3MP6S8oKn+j19CBRuXxP96s00UqwZ3IIOjSDvMWjatPqMvMBbYQJtDtY78WlAAYkE9KrhOXjCLZLhjTpM0bvw4mb4dOSxL+kgDKNZ3xF9FPFvHOd9CTtk0Qm7/IoxSrb5FdBuwtnyak8bBgJdRZ0nROTRZTXNgFVrzo35pOfFwDO4K/hPJfL4Xes810j1unGDBoX9J5V70inoHMk0l8lwUx/fu13rI0NdxGs6flaBpt961+fNUiHInXikrz/fA5EdjdX9Hz5JlYpYIWdSDV4Wm6rZTygkkQ8BMkK1ZPEk/xmld1/OqdjTiWy1VEMN/gTaDCTZHJHlXeOADqCLJOCxnBiGfUbZbL6hPRsxjzWmd9UHUuNbL3uHqnEb1rroHah9sZo4K7MXyvVmeU+PJo3586u54g4tdGwsMW5PVz2RNQVF+e+gDf2nJfZdVnsRrHH+gfGXJFqgpptW42RK/xp8i1tDlSPXBa0PaTOf/W7MZ4TiHjrzOf39DbI02bEgCgktmz48twNcgJPTBDodNfnh34lepgN7/96VQ0/Pql2Ml6ovBp4RkExKrTfjsiDfsHxvlVaNV/9OvaqFFaeH+RxBdtpx5rUjRXTTnTFH35VPq8VLTXqJBuEJVme3R7lm9jAdduiWC2+2nzm1xjw2G1CPe1t4Ka5Iv/I0Vi0ylzGHUgNxjwVobxFojwbQT3CXXsPoQp7ry18KDOJSGrdhopwHwilbfKL3/yI1npFXvuBt/G4Ii7ZswpncgHr9TISz9pMpnosx4AIrNcpvVetvzKrrt6UiN3Sl5mpGaKPtR30VEl0yZLZ6tkg6DSOn2FpAcySBT7WqMwktARrsV3jt3D3+jojjNWblB0ugFCsJZF4xHJT0MrEOeOC0xG46vi7Amko/l1IF4PnEYajFt8r4ob7fwKJgXAew8yXeRTqEW1TJEk0/5db1duR3betIdgXxUdBRjArsHswySm0bkM2E3mv2iaKfVAlkDYu4mpyo4SXNtSjie2iGUbMMk8MwmTAQG6E91WzWTIYDG9aJG4iCbB40pPx4KxDrScJSPtlr8D/9bZGRAsI8nnn87XRPnRAFz5Wva9b//NXsc0vHjcO8IUVlhRoIngY8XSB+G61dK28dEYVhG8f0aqipNIpojn9GkllRPJvrooS1ouiJjRuge3s8ICPCz4y17lDWKbk9q2ln/KtEuTYmMHBMRcveOIfY0tzHxhkYlmCKRL3KtSvYhwPsoNG0j5RWLtU1iID+lZFXf6RgdHzd8a2Wl9Lw2+ave9qO6pDl1FG+ZosoD0Pal2OJdxzMhsw9Q2rRa9y88Vk/r79WdwrBWWjzePIKTvMs/1vMTiaSH/gCYTtiKZnUZKOd5JzGpVlJ1jGkEKMnu9WzhEqi0y3Zm4yY8Ef+88Jz0GPw6fJp8L7GV4VPRXjQg9bkFFzZlsm4zea+FcAO0sjjhYR1U1VWcR30LCF5DeUzwuWUZx/RtnjmGH1I83eJ0NTmq6PabF1icMfop5XckNbCi6uGyUoQPvw+n2vVxdhVQ8Y61VlPn+pg2SbS7VmlIDIOokrDkk5QnolBoTVwI+6llxo2UPF3PfEq1gKkYLeRdWpwuzd+BNVomzRVypIVy11dg1KCne+R4648uC9RC575Uj52rbU6VGPTyHJKzgy6wWr3vWFPN9oJjpwGtpK9rvFr7CEqQoAMo2E7do5c0yuq5OIUOF5tagu6Mt2KBFEFGu2IvwCpfVZIiD71xM5roy0AKsK7bJvTJjmNMMbLNsjlHXGfsFB827+seMcY/14EIpYTiitcuMHFejFG23khVkc2mQqQtPgVOfL7RhA7Rd9uOG5gLN2MKxIOs6Kz7BDpm416TGqTPNVHayC8LiIpJ0SKZUGnEc91nCQ8QCGIMxmDLrom9FVQgsj1hhoxrATo2PVFm8zO0nGfVgT0MsbkkYHuBNagvmUAtNsUUmseN/mBRMhEaxL0GDkCO0+xe/qFwMqy3LrD7vqv7FVM8TGDWmBuwPlzd/Tw2Y1EomUaK08Ofvglu1Mdz/XmsOaMQ4dcETTDj3marAuQvQEl+JZgvChjpfdogCZds2cf5eMl1BGoBtWAfOFVNmdiJTZdh1+U9C9dgbHzGD4n+2wrikJZnCEsqDwrs8ujR9MzIpN3bb7oJUgG6LPKDNq1GjAnm765xcCXnaXnh71n+/HF52In3XfI8iOBuh5J9YCQ2YLySnqS+bZgwX2s2Z+dtYlCUdfJNfTjXwnfHaiG+tX/nWvh+EO2w433y3+/Na17k2J8cSogk7KermR6+CBq9rL/JrakWgqo5QfNHsASbbiyzpeHubVnbOFoxAao16sXK3KQLZFJBoEJjIdxAXbuJBNV6zHV01kQcgAfq+YRUPJA3SQ5zRS+8z876ggMtl/kkTqyLNbW0PaKrwhoNI5iGj37W55iNVk/NePW/N7KAytBUDL886Wi8wxhTcYnWMB1ZmFIcbE5Kwm7UbspecnezuM9IjTxVfd+SMHIVALxK2gXPczum95+Z1PHYz7EqRWU/emwps4zYKcVFjFVF+56Bi9x65yBMx64TIwTG5mRZ2JFyS32usT8xn2LaEtLmdOxv/FLHgoiK3y1TcDWl+WmYAWhLU2aYwdOqWkYZeuiJppSeGqw/KEUi/6V5ewNH/J+vby+gtSjp3PbLyAi0t7kc2t2J/pkNMb4gua7T6lMScPTfTXjtaA/jyL5f5WVYlS8Nn+NCaXyHLFeKBAa7KvlTdA4JR1DnspYbbsM3C9Kb1yfCe99ukEYt+utLN8PVpV9S+8rXkfsttSkgGJbVR2KesnT+TlK3xWeqP7TX/MDhmjrpgr97/dd/hawqxGoIX3Lq0Z+w9/ct96RP6u3PdehC14eRtI3v7YNS4QWaywbagUwAD02rWwQikeh1BrMa0QXpNjvclRkBPLt/cgDXUU7FwBFF7iCvhHU277OYabKKjZ973Rzwac1zxyw7iT032DkVctqudAcyh+Uq4p9DsIczN2wpU64uUK8u0gRu6lm3s9NfJUaBlf5IJlLv/LJ3idq3TtboeWRTz8vBQGyRb7DlvJHePmZau3AfgOL6qpaglS6MtGXR4fSdZJmxPJXPwP61Jqs4ArUi9eElZIoIZjAeYSGt+VcNTFfjqVWlHxnNUbLWlghKACvBE7oZ4e1kFIZ7gk4d2qmGJhfrp+5dnkwHrBMLi+w5ADQo73LcaPVl0h6Uz1mRMHkWWx5V45mAIDRDg35DLT+lXM7T170i+G8RNluhaTcn6ZUK74gTU9O15o9qpP6GCp8V4rZPGQ2AGMhhGD1mZeGn+HIE2dF5nsP5pBDzky1Brx5VtnUZ/YILwLPxyKNkzGF4EJH1O7w7W3fO0W5Eo3kQuqC2JQ8Mzn7d8t7fY6LM1Dzw5sT5uM/arIwp3a9nMF6CjmnsFXsU6FL59NcpRXdxvnJwW8GcDL4wJuJ+rpHKYPBI6383G/tMxqozObxA8yhLvZRh4JHLAv+dwlblvjBYLkTb3FDZpy4dz2dUXlGXhTUwg+2EG+mkKEa5/0xNSw+Hk3aQ8AYarZEaHc108Bp2GbPJKgcu6q4psYPx0pcftvtkNl8X8f3F2nxZkkFE8OeTawCzSTuVLnPkfVbbu+eNqxtYLqZmsMt9XWBPQuHfDlY3eFW3tbN3PiW2q6mTeJyYw7hJrTXlYU5FNoJ749784vAqrcrinFt6h+ksuysuzKbHvpx0UQaCHslyHAv6a4jK4Qxc0nRL9xrYwurUKWChcl6uaMqPgTzYA6UwtkMrMopjmUla79o4yofFJBpZ34f73i+kkrWcos0UHlrwh7ffhXKzgrXuv11Gla1ZshLvhr1H4KrSfM0C0Dm6EeeAsRdhVtBFx4ISqOr34YSMEB9ZSl9++m6rahYTcKeCdaTDOK2iJ3hNBIX7SoFPnYWFmwUlDF2vQMsEGkaJUEs3CGcF/ajZQ1haoRftPEi341MLeeiUW8eznfjpahvjD1P7EyQ65RZpwwyr22v9arlvk6AspSbK6ewbIKF8wuJE6BWReQ1t2p7ZRGcU7aYVZ2+wtpwrSjW33dHd2RQCeSLg79KOnTJMzpomKiY3/q75WBJ1ssHc7hY3riRNxpK1jsuI1OB+/uKJwkXUbIStLXNFPW1eDauKtirB2QRcMSCyL1Ii2VYzQQZQfjnHaJ086jqWcJNR1uh68u5EcGn5YYPG6Gyd/lNq6hg9lzKZwKI1PKueDIzW3Qeuu011318g/SPkR2KtPQutBgirrbt5wsrMn+paQ7A3K79W85MoWsk0bq14K+JooUxZImJMcAobCaqrT+khtAi1QLKHKWemdkesjsReQ1X6TX50L4/Vseds1cTQEAfq+j+q4r5f4jGZ41t279RrX7BmEWT9GGiz/aWV4W7Wyi+i5Xr3v40uZIqqLaKK87cOHYGpVGuJ7+kOwqrS7VNP+qr2GVRbuoqq08Zu+8f/D8AK4FCkE4JIYQUbH0INyY3xNz/DQGPBG+RebXl7HBJ+UArODwXr+XCrDmpHQ8HplJswmhDrk8yjUi9DLyZbpmQ1794dcbyt6ipRxkgVsRtDeiNDindn9wDNSAKBmkeeJ6gmJEfFjrUjE3luPR9iR7/ozgpT0ISFAJJ+4K9jpTgpbVAs1o492wVsGyPivbWCgAQXXJQ8N2iiJIB+p9ZaD0VRKfMeIt55P1u3yWfNyK1XryzDN26H8s88jzRCMDN+8dGFHmT4xtAI4t8/5ti54pKm0WcRlXNvDIqDnBzM4m6/5vBwVstRYwudy63cpfOLn+9NV9S3o4xsMPPdGPI/x5LJLxl0geHLIpwH9CnhB/+m6SmyzV0ECXrfQ5yu9sJYU3vzlPXlHNSkMJRkcghK6BfLf1an38wx6DSYaCz9gMWKHKgkrTxcR2DR7g/EbIsamcTb10BwqCaalRwGNOx0IvlWXqte4rpmz78fI4UE1qDhllFNFjQF8/7kPu6ZDuYm3qEYyhXcb+rTWFiAjJe6Uw3DsbVz0v7pG9uHkTEaCCoQIQ2SMcGgFpNva9k630Frkml6Ysoj7d4z8n9jEaPtr2sYn3T9kfhNsWuL5+2EhaL48KRRKIgCnpFxhWvXwO2TmENvAKZrbSEnfrqt5+3KODX587B9hvFITkno7EtcRfdWFJZSA6+Rzja+OmSUm6/8Ljo2u5REWRyzemXC7DLzxXaN2C0NhyKU5fRU+F8amAVdNo85qC8Rkepd0kFyh1HhpJU2bdDbvJxqT+OuY3yTIMqQ/s5UGHofCzxBoVMcTT81H1rIbDQF9bsW3iki1m8Ov5/d3tzPp6oM4HL8P/ns/XhOjkavO5zj8cDxgu9J1unSEVnmdU5MAyWGwKrl/11p6vYHqhpA7SKEewW1n9dCq96yUpDuuewPNvQx9cgYG5QBjVX6CKMN5ZirjVsYB4Y+XLM7X8mjiRkOz2sHxsi+lPE90mk47QEDuNkZdvcN7ADXRfADa/2CV5htdEptwe7L483Yt/cjKZpx3CQSK1452GOqDr0SWtSZkbhE+c9ofUu8s3vS0gO3tRSnzv3TXIrrZKrGQ6ZIAPMDWxrV12Z7WoGoMIA4oQlkPfRLyTeOaOTAgjOrSgLfQRpdhK8pu/SUgU1BAKQoTvc3EFfbeEErimT2NLG4rvJzQgNr5D2ynphP9DZ4uYT9K1YxnWF9o2wtlkJWyrPSGVV6VihVM2htGNWGnOgy/JNnB1vTjTjiM7oGdLeVr3ZcLJAG5xfgfRws023vjRWKNy6RaWcBjGevBlNhkfwp864j3c3reUSXeb+VnLHBJneybTkK8jeSQxlZWfM0BodnxB6I/h98MTxTRzaNw++aBdnMhscX28uVurSZEnnTEP72ZTYCbqM644Iz0uly2scEdLMtAMNhOI5qGe/9U2PB2roAAXqwZM2a7q4uwh4jq9M7WPx7/FCj5FLyRUqECv7t/2nyZyDGpy4BZUOSGrCtgYzPCs8u45UB2fjJaIVMOHtsYkC8MFhQoYifNnTzY2Q090vwYTWF9Y+jr3X8aQUwiXdqhM2mfBJ4fIYF80O22Lxi9PcUKFYx6017i1E1uCf3ztMIL49uiNqqKaen1pYcB5/kcEct+swHfsE6sFgv40QawOLRb6qIfVncfIJoR5Q5flxB7PdLlOpXHpGIVnMAqIQg5dNvZ5RImm1bnre+v2tEutprwR+3vhW08DdvSK+LoSL0De/2CoSewqq3+aY1tloCFsV71yU6jfIpIpg9tdOE+VMLFhASWsKglslcAbTiU6tp1itpDeAXOG5Ao8+NpaSAKsHWaOlCIw11FcaYjB/dV1bj/GNTGpi5fsgk0SdhT1abFqYAkrIOtT+sLipTXzwQrJeuMtpu+J14brMhT377u3fyGAC4YSWL0aGiocm4S/l/8fDaejMFOrJTlKJ2Oiw8R7FI6f/wcaLGawSjp+0KY/vdEzE/RkZM/N8PJvcQ0Relxs/PWcNDpLzRn6YlQVjKkkkigMq1jvV6OT6k+ebw+VCHLpc6HBUIpsIv+idLdexfxLgfYFz/DJRnB/k/FzcRhPmK5UuqOShl6/93UVC4U7pZV/XZI7CHxyLac/EOOwppQ/ut6fRhxrgIjIF11WagJ165E8Fl2OxrfU8Mm8s1OxsQQsUcecAORO6ZS3UvwU9mAfnnylD6W0npJUbmp7jKpq8suyVrt3cEAgNvu4LB2YraqODVjMy/tlQLJqwactpVgZyREEX9eutUefKrxTQAZwZ2O4i0jCHK6ei6Ozmlqe5cdU350jcSdXvWVrFfe6LECLwQKl6ukhoWUgyLpR1vCclrlu5ARETYKqd6e2arlhPB4Ed+CpPiW8o2sNBKpPtIfvvthCVx24vwKEWMTD4hpZnI+Ofe5dZhvjD4CCZXS/OXfpvpW/wpEi5qExDD2tfI+G8aGV+KCWD4uy0EmJKhkyS8Ha31OkHrm2Kbwta2nOdqrAj1oTiriYFNuP38OnqJxvSCAVxuZ994xIfTFffW7a6y9giI9M38FliXrsK/qAwRDLee5N8QI1IOFeLQSLTQd0VbkdDuU3VIH8MpxmRQIQC6iNpDFc914/gIJFAvN4/HGqnSzAw3favvjDO6A51LDYqDb2ROWqMKgyCtu0jTvHll5n5ii3txVVd7s8lPhCD/mspelA2AZEwjPHgE97h30sZ3pCDzok2Oc3SgQPjJxMdxuGCvH5E6Rfz18jdhxQgPqk7Gx/mVLApF0JGgMVAyZc2c0uZOM3cgyjP7OrHzxGQhJW5Y7ee8kNCgGmITYvlG0oCqau02pGTadlJgCFn3ctK2OLXJ7f1Em7VSi5s2ZhORUbNA2bsmJc6F5lhyOpC/zNZKbQKZUJGLAIl3a4PyubbmNNJ6xEjvD3UvZG4yGttgFhI6de4FXAe00RSEa4KLcvu9CgzfEESPAXL70dqfTHQ0AHhuGDYqbvoH0kNT31tXfA/CnLkum5GdPm7OsrSaX+w05f25zBH+RXd9mXA81goM0/ZjG2uvTqjM+M6pRQipwZqOMdP6M0xgvn0ktzJGuLsDWUizqXXK/BBfNnMSXSWU8oWu3gMGMQPUOmGybVliWPMM9eMP4N7gAn9YlWkYO4M7P8uFBt2FBvsaBts/fSYNHWD+BwrkhFrrMaib3FPcI56aftuQni+spTeVNQuNvGNtupAYTg44tgub3pYZZ7Wb46ogMUN6QxlgjwFBSYZRKcB7XSg//VWvu6gwrDW/UZxQZQ7If5PPN0qtAyEWDb2s9/FI6zeMcZ2ixGi3ctJy3oKiTSmBqa6r3P0OMVyDQqw4/jzEnUEXs3eOmkTX2e3QHdv7iE4f8R5dlShFk5HRTdDrL36DFI8iESE+AgiVpGQygFFFDwJd3wDSMeaB09mQTUicHrsl3iNt/7GY3NLF5lSouq85hcPJH8GQz3Xd+uHFTIWYKfv+mYSA+0Bmh41NT5ZOBB2ctco5F61bQYI6sQkaD33qoA71b4Pk6ebpToLyiKuTWspiHcSXP6/ktIJ7PWudUNOth1MjU5/H4EtFI5CJYNYHVs2c2DC6cRaQEDua9J+F2/Kdy9bKoeis9CPDFLuAEUAf1L8AuSUq6q/+QZdC3x8daYPEepO4jy2uj+SXu87ws3zheabei8YeJb1ZIyS2EWVS5dZ7r0sBiUIIqhfMNdepE+mWiarnEJLSGJrqKQ7f2F5CsDq8a4VdmJxZSHkWBi986N0AHchnhQGCYNhDC1R+jkFvD8M+u4VW7p3UbQmEGiAGapwDvsBhHSLe/VoaC6u/5CHyoz22ja6hBnYc/9hPhbvdgNioAk989xr/eda0ILlLcnr3KvyzWu8NG/c6051U0nzkqGqS9yZER7FG5KatN7mHe0MOnVgngvcKwszYiJcLyJvNgmyoO4iPLVO8XEKTVwArUbzSdGUbUDpKLg05tIEM+1EcpBF2zeufNl52EBSLXLeEs0FYLIrXCbnXpus4tzBwZctGElNrM3pRzmv3pTn+qtVcMvduJ9Kdm//HGdNRJ+jdjryHobv6cMc64YLQTya9JQdtFztEWUKLwufjhrZZVtaWZwigF4wg72XqFTM23qmyRxtP6xT43myK6TIQ0QHnYxtye49/93kkau/G4i4Wkv4Bm3WGm1+awoz4DluWrSjra5zjWUpU85Buqq/Jll73ln6tqpDpfaphWaUdV755ZRSILmEhzYDcgiGrPMGF+q8F1SmUixpq7zIqEsUIcyTy6MKcoopKwMnU/JXxW47ReYqSQnrdcudTKEmpjDfWzi2KjhjnGyF5LhmPzMlOmrqCK1dZLaOtINNIpVCzqlzINDEWHV1x6qtltfc7vMgdRRZNYv5X75QR8m03/EXuhMUZ12YE0J6D7Fa8kkNPUymqo+YupRMku8ZYZQHneZ2x97tccOYD1Gi0K9lCeBYnz6/YHA1fO4i23W8E1fHoBXHOq5FSl7pVam/EHbo5cMuRzeZHg9KY1q8UL0Gxk2HcVoLwECkKHYRYUzBj+BSxyz7GXRkOj2gI8csAlLhD5A+HltuCl01GJh5Eb99YhT+3sJSKikSM+nG0JrbKYmLKEe0nQxUqslcY2JzlkeN4g4A/eOl6fjdpAZ9Um3VWU8Zz90v82E2YaEINY1IRUhRLocow6IsZylgsFKcbSKFUFlm7CJk+dgRJ94pVjBRwQnAlseuRA8ixUaOPp5ZDd4hTQJSTKqiLrB4eM4PzgX2C0aJ2F/t9nj7LknsR19PHILNKnfl13132VrIYLS+mDchh8P3aH/1Oxe4yDs99Vg+UBoKq9TpGcvznq6oaYL6Xm1xnJiGP/AUQ8crkwuNZ7uoofdUJnKbUnKh1sE+k+biD4+QDtugkSYZrJrZf6kcorjLTG+xt6VKTG3YVBJRTTENm9XYuZJkbmVvvM0rDAXHQG8J9YjiIEe5S2sccnrDfopz0nKIrNUyUHYlyIrjNXceWTfo6Mlo5hX7NKjTSaA08Dw2HwSIsb01W+1AFWXY9o4/IVqDU3YFHxos0co3kA+bPUtecockgYvZ9DV7Qt5zww3CkYKVs/c2fZL2+DTifs+WbP4kstrbwG8UYAS3lFzy4b2f/T74LScCMrIpm/HkTRNXglJD4WeSUQM+E6u3UQ8d0iqV8mxvzgh+g6errAabEN7TaCmGx5RzZTQ1SgkA0hPBeaHCx2viZHeDbTY5e1AOCTbr7lih8qY+2o2BqVLGop3XhOvVI5fkaORP89bKqldCesQJxowFNNqjCK+efo20i/oU58YyafzD6heP+XMxOl6i2qjOS6hqxFVJApaGK763gr5qX505jqxTHLYbJ14ZcnHzNSwS7m8/y5dqonaIdTxqy4QgDGje+Cn7PRG4PwogvZ6PtyDrw35Hy5MFlhMfvyOsikzhJewh07zc1CvFHJHB6xT+EkXtfMfgr3EJG+oHmGJG04Yb9DCnagh0GDVBhvL1V2mfWlwBjsFo1Ga281fQ4+ask7LLBaeqQeIAdFGubVOorr9J6oAlimNNS/3I2PUvCxSGP/SE/VPMHBSEx0og256xhqku/82NYvQsBjAfSpHc47AK61WZ97fSDtQnG+xSHiiXgd3Te3XSvF6wqEhbDDVBFoMQAL01YvDoXopLAbt26DJywiuSZFczqRVplg6wun8fA/fhjHo2TADWMAJF1Un/fHEikpu5PJhnOOvautNlzA5KZ8C5pYZEpuif8P9lk1X+opT3XAVs3bBZCi+iFKZ6fvCiKlkqNDMMW6KmWbtCBavTmRFcQePHj06vKx6isXM5c9QOhL5m35VrKIjc5CZg6SF62DGD550JP6tbO0U+D9oi/YvEVGCugBt3iKczPsbX7mwkWhETC+LetxhlSrhWFLkFona6RA37NpWvsuNPw/cSzPOkWFjzWBaL77jt9iLwDcg4B1D+Kh02YIBOFW5G6v3xwi9MRE3b/cD9Bjb/gq+l4K8DFL/9oBLUF57/Xn2r5r17lXPn2j+sITnb1tb/SBZLfjmKtHNFWfdyRzA/G+B2xTPb7UAGYoWU+q2ikMFLeHChKFh1m2IgE0lWveNmA1XOCqF5D4shOnQAT3pJCoMki/LfpjMjLjLOwawrMo4Rzqf1ckrkkIyEkB+cucG9aEvZ+AIokJsYj7iSqAgYMAOiCoC4JhMaaC/OY80O7HaUWlLQRCQi/bV4dGujJDVIbQWhWuhsAZzARfd8P6ydZfShsvTfdPYA0oXPa3uVzZ3mfEot9VAJglzXWby34R0rU+7EvpB4IktGVJiVwFNkeJxA13Wr81Hi7K8Zv6oq/Wm4hl7HewQXNYDC8Q46KkfzSNJ6qedwxqRj0ko+gpsa0s4Xhzd1US0uQ2yvcJKufm/KBau+78kXww/1CYLjdAa1db0g3DfQI5Jwba4iXubu8yO0gwJOv1FKRP0Ds1hloiwpEmSwhIhlFQ1HgK9zBvg712eHSSrb/NBKU69UdMw33oeavf6IlVmg/wjeGBvHm8uiNNApTNdPZtcUE3APrBzWsowdEzaYvMUkZhFx/NJGyW97+NRut1in6cuOJjAxLQLfWqqZaU6ggOh1n/MuppVY6xZd4agJ3riKgTmtI1kf+v7gL3ILFJvmGIvt66BlGK9us6DnAZCfRhoUV62Es+dAMQX4tzN5MsMPg18wBh2R13boAKvvqUiuB6mgcFluqCI5SkrSc4Dafi9BmGcxec9e3Tm4g49SAQkR+D+cWz1zCeIMTLIErvPVmk8uMnMZ2JBhoyRYWE7dWXl/+m6HYc0MYvax0wDjBoLbgaycQp5N63OgW5ZbvvGq2kcQX3wYCqw27FwD9FrLnV/shPjqBkOLhpAHT1/LT4HJNjRU1EjIfrsoowTV+SDLneJWE6dgsukSscwpw0DuVt3/SlpqlFAyrtJyWv9k0rcHzk2Hy3cq3My082JsHnJcW5di/wcVWPsUen0TYi84kaceJxtHr5IjWWRmwpW+AuOBUfIz0rdycCS5W7nUUJjWs/qU2B7d0XoIfStucpJQktiyjCxEOppUz69HubftBtO94YHA1WpYrgBeF1Mqw4OW0JPd0PFIpWFrnl5sI6K6IR3JWZj9NjRaIbLgxiWIUIl45FAKxLKD8iiLNLeGJWlFidJxF+nhBTd8mA7/dbyPKCcWhqce67VS/BJMFQG3P8vbitxPPxQQQKniwUZrth2Q5XpJTMGppVwum6+2tTvRRbJZHvV1POQykXOxjdWX4Wp9bnETzO9WVuOOFZ3BDzN5wmhP2UvnehnARJ+lrGPLoCsVFrxNM036BdZZ5lv9vGKAg4YO3dxZQQFZQLmRjeBSa1ldG6xQ9CcCzSnhV6MQaI6bex7lG734EOc4PbciMPFej4/cJosOdm6c4ypOK7gZTXVF7y43+VGywRYwHKCr0Zq14YeBAfxpxTu3+E92izIa9Ab5+nKuEIsh8HH3rpqn/dvLXMkQ/chPLXWFSpN0kvIz0Q5Abf0Q2vlc4n0u4Varr72iPhv1TeN8Hy9YYCf/+hcA7noGDIl0dVlPF53K6ut/YWFEm8Z4VhKF9lmEX1B7z6oTx++QccZ71/l+sI0+3+VEDcwRahRP9d6a8HIEUWEzEWTNV6NIdMy5Q9PV5Zmo9Lb94qCo6nBV79TX7NtW9O1656qWZqzZ4RRH3wpo4iGEVANAzui8m/P+6bkQZ/uLk9lxT15G/In8m1UGkxTDVudlqqWOa69c3FoTMMpHywqV8NhK6JQyuDgvrso0wwBbOHs83xN1cG1DZvec6hcFkksThZfZUIn7r53Fx+gSfn71r+TATW3LNR/dtvyUglbubtc59rpcpEvVWXAk2vx1xG8r/vJCMMEoGGBufe9cpC+tFbsY1r6IGF3HyVPqe009PY3wUmkTL/F83u+13ynxwt9L5SOU4Hz6W58YGT4T0zeUYN0S45j/PdaaODAh1RWMfbPPnnlrouJ2imeEqObssUXf18pDxUE8emeXIm5a/0C7ADKJ18RepfQNlndM+UKddOgkwJWQ5UQIaQinAFClcwQ7je7VRDHa4q9fIovA+qn/X6dz2nRhHppuOl4ddYTcoIndTdhL5f5xMsRUmDg4RT/TrQt6Wey/jwjf1F92LoDL4P7KC6BlX3oWDL7TMVdl3leVdL7tqjgFCxWMyF/DCs2mN5qecHypOaAItIDypslZx8xHu/RkZ4Zmzhz21oBW1b7c+Qc+MQm/7hYudkwlz2X/B+PrbSoyvbaqx9LX6nnV14tfpr1S7LU/nRou+6xg//AxJjByLjXJOPfbro1qTXtIyGdr3q2pfgT/icOvS4hML3oUbQdohmZdlIpsotAefEm6y47i9vOB2Ik3H6WbmtxcnnMGG3JYQ1DKTylopGFf6/KVxJ6zqKoTekTwpwXEgl4u83S3T058ckzqg3XiwPPVjj8cGj2bWw4vmVgLx91ZNDXob8y+Lg3NCqdpcyG5pG+TXwtjVvl6YJSiXNS1Mu5FWU9UXjSYsITnXzhtDUlVAASCnwBejGPA2T2ttnteNAhXmdqYajcbSsBHV489HGXobBYmx566OOsk5KNHPe/q+8+UqztCVp5Js3/IFnxJrfbxhXSfCuVQ7Cz/lB39AEYfmkLXvcdnvmp1zjwqHEZ94sK0cWOYVW6Bbn2EYPsSe1mk9/IZFfjuvDJHy8+tyCid2FoNIhVmNfpncKt9L7sFC9l7yLi/ZwiqO1fJetXQ+mhHhuzC208U4tY0F0qjxd3pssscloqOzM2BzJU1itNBgyOP8GyUxa2rr8GYwJqrf6Bg6P2bCjXNOz6VLUit34tGQ3gTUNekXRZuw5XZVl5EI7l3oTJAq2k0mwSv9vv0R+EmtSu3iiTlJA/uTQ31WvxTpb7VnDueXvwg6u2gdipv+GlcEg6JhtLwoF+gGqmaIFmT/+ugq/EP749WZtUMlJB806F/MXwPGU78fBgU/CIiDM2fHXVAIJevdb/v4qPXc4yFJhuCKtJV9ZKslTY0rvan8QzNpa3FxPAulvP5tQNI4L4ydqnzbCbGAspQZobL6t5eQ21qHaN1JqdfaU2ULRQe6wajn0xSMjFs2FF9Mw3DD5n3fnlZwr4T2DZg00ICCRTQcdyX9wavGGhpnWgDlrPuAGrEvEX/CdiMlqiPyyZtpsiWnTG+XmddpwZncbjR9GQK94mh6eWsav4dRw2k7IdKrHyWor0i4bN5me/u/AWM73FTFUir4z0isyBU++ttRfzTjcWTqMB4oKa0UtrvOymAzqM+TocZfYrJE1elJRsw9skp9eBjnkyZ+5ZotqEJnr9vbqWBYfBB1GdgFMhhLMPjeaH1VFncUro5o912zllSEiVeul89R3/VgC9msz4d04D58Z95vqwMQEUzmhjmkIHg9V1H9R1YapA/z3/i5WEgjacPcIfK81wOoVHQah8fpxPxbYq//0kxf/W50ijSc0MzB2Mkv7eiu6hjIO2SsZiSVQ9KXohDz+Rl0fdbALrQcDKa1oIq2WI4+wjoRb9PnVBOd4TIGflWwsl77BY2tt2tYvjLXJM9CNvgalX+bJ5BCTykaHc5YpSJ7cOrmhhWXOK8l2DfMp7ZWCaLVPrsy4lz+qNmEfCcxLYXsA1YEb2wI7Lnkr6noj0ZyFCxZ5LT3KlMMQZVx2BoHVXZpbQf48O/LbMSpvLZJyqVSCvj1+VXJKaMrgVd+v8POHXt3PGKZE+rHYDsdZs03JGtYNsG6ez0nLYKdkzcIO8VEpZBYrBHKtiTZa280Gb3/VNvTlIxJrlNI0RuDp1I2qHoUxzRAh+F3opPAlWHLm3NtT2Zz28mzaA5rp/Uq1z4S9WGdkiZte62Hq0dXq1d6Blrc9Kp5XwFuA39kzRQzi634xTajf/7U4xreWxYFYmiQSqgEf24tmeMBzsnMlQfJrPEN8g40oVySv2/0Bn5NBwAg92M9x7jB4/BXzj2e0POM50gzWyLxMvlWkDJ64ezY+OSHANVMmGWPsmbI/6Q8J4KedF3ognEjLM+XObAaEaZ1JKTLmvGm2xf7Xunus5PSGZEWPfwRPI6OY//kcM5/arrMcTycKldnPWUmHeHK2rCwJX29bZUkq1QaW8FVJSAcThDFj1qODriqXtBu5x0QdZSornrS1qDi7lWpovephxcHu1Lhe78wfFXRAgxX2Majcq4H+MKYYsWr/1w3/VYYB2rPE/bG83HG8qsm3I1xaPSI4iLMWmEioTnArYnNY3IzJKjbuxLPJtGXIScQWiv+CjuBh6xcNSz5AsNnG1JKwcy9MtVQCQIv9iwaXzBEeMW+ADv5RNYtibtQZjgjFFZrM6Dmo/gBUh4fd/GnFnoM7n0b2Zd9lnuKua7XYRSkH+I/deI5ETC9FFkgQT0nbNZySpLWUIvYWdeogfUnXOXA7mRFzsH1WgQ9FJzHKcJIWsXBzha77C7aM2xkzuDGbhrRkRFbrXBRF7DDaVKFsPdne4Kt+NCTungMePw2DfYyhXK36hiBZPyCPKW2fArpreCM2kouLSngWctVaJEl33ul5VS7ZMIwiWxvE3CR8JT2QVF8G6jYGDScZBBB241azekmc3nEVwgE7VUPxgZ4ySe7orVd8j7mSziLXlfJaExCqZM6uX3eqDTI8GRedB/ok8wTMQ/xwqD3IhUi349qRdMoQtDjdm9zzMOvRT+Mwwgo1IxDdU48xnWAiry44FoLcOZyG9jOT8h70f+FyVlGAb014ePpEuNk7aceqfPNQE6vMzmUesregGduc8OQb/APV9wemmwsmk9jZO9kMSeazdBty9tMK4x42ca2//gLN93mjG54jWpyELr7/P06v+zY0Hy9LNFdqdGnmQFX9JbC3KmHVeaWXnSrl5fnrRtLA0FDLpAoqZ4ZhaY5mB95XP10Z3AYLiLVHzuv/G9ujQbPFIKkP87uKNiXZV8iTf0cq9SklDm6k5q55jXVUuxYwwP7w21f2kPPfd+6mrJ9MIt3QMnUs9GIzGFyF9dXSFDIK78GeWerPasAY2beL7YUN7Zsb7ge8rrQKdtJnPk3umOLKbCNYY/JG+nm8jqc1EWGSiTuEJ7K1hIdFbAiufeAt773RDbeDi756xTzdb6UiN1j04IDLKFMqo5Ct9hmZcuJtrNv4GTWbjJgOUT63QwAOps4r8mCEsUq0E5CAcp1mnWsdOT/IqbcY9IFfoWhE7V/MXBxWaiPRo3pDVXHeBAKPJ5c9o63T5v44MIrsjhgMEEZ3MOg6r/MYD03DkcKxhDl4C08qcXzRKgsM/1H1EjmdVoq0daA5J4vVwnCPuxMeOuh7Ixm94Lsio6zWPlTTqFAK0aNUYKnJEPtT44ejKv5DulsVTy2p8G2jUifPRZYaP+kPf5+QAbHa1O3/yuKN/1za6MNM/TmKr2oFMhAxQB3pROeF3NUyV4OtX7jxhGXCBbqmGnqC3EqJrjVqARecH998MOEmQNb8NQTQlTi/xGSDlA2M9PUovC2YupnXwi4fqPtLU3Eu9kUMJRXAbtPxqqnUj7PCfxf7CuY7IcuzbizsE9QJEcFpP6z/o5aYD5ELgeL7Y1y5RciImcJP2JnxDqf3+qaGdPBHP2dkAws/cPk+ce9VP/J44IC/UuqCzsnqkA5Cc1e3cWTCp1ctsQHfwRxPWHVRYIwSu/saBDzba9tzjYveKSujsfJx4uG4jggLIeWJjtGUMI065GEry6acom99jC4jOW3Ooul2tjpQPEyCxZWTfKLL9djQXfeQf2xjyn770Nh8V6SoLD3NRoFFFeeq3Be+Ppw8uw/ko7PUoSmrslF0lKnZnBCjBAGTub9tkjhBByU29/wlKy0T6iqn54FZlGMmZjf2Ksh3kYs1Ey145PlrVo3D/GxN3CoVDRQLZ68y1gfLoVk1XJTaTLSCn1AFRmOJTUHyY+aZABMHYilqKjA6UYOCmMASR06udSRPKJc1d2JVXhmt7392+ISFw01r1rp9LlrIxegyj7RVwWXdAtTM7wFVf9RvC21kAnqAGfF1unrq1kvedgZCP7it9aqYXbTngFLulIZCC6CNhtHtWQAMCI9Ah+4nUWU4sRD1d8nAWuKei2Mzitilt4h5/Dvm3kf38n1wrJvZ9ae31+lGJbjrHMq432tQlTq1CTGJme2r3bfE9zvroGea7nKBuqT+mp8B4XlW8sS+JVt682MsNzqQjd5v0QtgZuUqx2lV/2ncLFxD04Oj2c/035lWjU2jp5cYajyJtTYabtmCDmfO/C1rTmlel42JZPieWw5griDlyPcsoUvGrMv255l2nMFUdsSDBOCJqeDiB7Le5NJfhUoURIdP8z0fYIc2Og3xlO1MS41M+f/qBl9qaxgSXHq+xMYWe6IWEG5o9glGD88oOjvdjjeInjISNR9A1IoJIuxbcypAMGTSsCa3Xdi3An3Hb+OfvMXDFP9w+OeKp6jeN6TTHBvKcTh/eUEw6e90OK7EMYl8pv2bhlJbWu0e8JvTiWPOTljf+q4gix9prwX1J1gwk6R2jVgiSSsXbeHlouH7jxVy1dVjqIhFH3+Zs/22QRej7+blmwelSbhQXtwvmTUTv5qzxlkq/jUnbcpHlRqaZDFPo7e7+BLrMG3peRxsUJLOnh+cYY1r59wojbjemZx2Af4wJTOG+8WkFDJaDIMzVSw5RimdToBeZGxA6TjJtpad7gXcCPpwhulmaCwzxVje6KBVOEoHR3yjwir5P4WRFzM6OtZSOHO65moNyNPB4fgJXUd/Chs4lWTW+C77xrJNr2KhPOf1JofDzuhN034eUYoTYfvyzLRCPWdlMfibOrt7X5tX0hik3b3my180edarFKDt48JOBoX+CRTzTcUN375qltqz/H78TDxnIhuubECHt4xggCuf/cYUpgtOGTP6KXyz5vWFDb8uv7i7qYw29BsK8hRoQhCNDHqPyT2xXhw/WYdM5mnehPbNDQaLtcW1p54Dqz+Sfd1ZgHf3AyjDTNNIKfDrok6xCzGgB4bYI/0MA+tx2d9dUxLv8pu7+40A7p6AbnNGn4FTtqjWoTiowFV+b+dnIHGmakyIOjPiQuyZKp165tPnYp0y6j/kVsn5Dg+E5+LptxiLfgF3CMz0MQKS/50xPCXx5aSaHw32FkLIjJa1uP16hyuV1uBcC3FFiENSPS2eiIbnfUCsXXP7sWRdYBm592haFyrAPUn0NVGhxf9wKp/Lor9cZCpGY81a2e93IdUQgvSfGJFVHlnKOm0eWXJCuakbObmoshy0cw3VGxz6b5H1MKJb4fzQlamdnF02w1Nt5AFBHSCnubuEanFZ3aq7wY2PAPi0/zIZgb0G/Oj6A6Md/CKVYkYUZ3IKDspkMeJU4Qp3VcLtLYP1gJM6WZn0xEH0/rFVL6URoQysHeS7StruhT6CWA2uot+wah27SRfzKqdtQ+lUZsbWfQxdjmjRsWqcKAjLNAEZV9puUFygWNOvjFMK0vN/gPovvYa2uPu4nHnfJDJ49R87cprqdktr1l2SaA930xtVpI9+Yl6lY+I6PxwvKLFmAL28ykhlwWl97hsQ32lntcspz62Kl7z/1gWc6YjtNGCaNiaplv1UoS7T7vuEkxWhtU945LDWHG5HCiANU4V7KfvZbgBqj51oGl2eRwvZa64g/4pJ+LVP21c/1a0j6HDbQExZRt7MUut6/d4b5Kcs0calRUil8xEhHuOOkocJ4Fq5h99y1y0MNu7wqv4AwLGIZqqOg9dn8fNKmOffo6ZqZuA/N1kiiTxpRb4bUa0M/6nIznImQiVr93Bqpxk6EMfV7q4brgQJH1sAmNSWEoLeNxLRXvBFKjQSgD+qArwZthfAcsI3rc2faIy7fXZPBCEWl+Ddlch+ZJNw4E0hOyDzwvtirQ8RfR3iT/b9o6HREhvq0TlJBOggyVIuMVBlTg5gkeycn+klOG4m7SQgy4NYNrP2JRnbqRqLhejtcqBQ3NEaRSrgu8tmU+Grxq9Bc0ET9K4KyLrUfwLrUbsMR4eWtt/6y/K4FF+rZDzow7X4AKfm+4sR0Y3I1Odv4wEn5w7QIWtvdnRJC3k0UGaCZMSz4yM/sqpgLwNVoinRJFOh222hL6x59E/Fq5e8hkW+1hO/XyAT9GeSSedEvZCv43LOESg/uiN8PIxO1bnB1IrpuhDRdG/dd3aVmM2x1B64l+E/JTNEeOkrhDLvSr11Ru9+21X5XJXrTfLA2jXoeR++l7s3UBtcS66LD6TjG6DWMbcPJnotKpd3WC+pwWHf1qEnO2kFuufzqSUVE/OyHSMOTlRgD4qWCeTBO6GQleABzTl8TOr/NOj2jdZncjDLd/GwEdlnotObA+0BFoHUCuMqR5fnVxcbQ9veBcLXtHjq4TYE0kG2dpb9nne+tO4rzhJXYlzY3JecVEs4fWpmHJxDqLyDDErrNfQJLYfwOxwjUpHjadKZxIkCt1advdJdXoBIbNUvYme9YFSIGGr6nT4trzh7xbBuUmqBK+oNXJyLkh1x+H9ZxRnOCK64e/SbcwgW/vDhXrymv8VE+jvbwl9B1nANPEJpwlmbDmNYg5f/sbaHy72QaacxugpxJdQ1NOjBh+xcTu7Fhhjz99I7GO7MubJcQQWNdoQdaoGOqNHggGfqCqru8I0nhkufRbjdZPDG5Im2l08SrmiJFydSjOfDZf2DV2r9bkiCBJL66VpPMlhcnRA1+xa4TUtRGLp2JTa2ATFsjgmQhquXNSorm3szA/1a9+f4YYbbXyXC4kI5MQt4sx3kTserout+1A5AYcfYGPCLZGhOV3rB6513zsK9iwOQWthOHxK52ZAwEHMetAkkPeGPdw1tNyaZeBKkHcs7nybP39Kpnvh5TiIql5eKRulWr1dqC3QJygZy8Bbb5R5HamrBEzlbB1Q6RAHZe8XNhll7C18j3XLGQ7GiuY72CJTpWCvDHb/Q4e3arpZijS5xVgi8UHqa0OmcGthplka4nAdj0iSVrMSesQ1SXI5HKn875/XcUv/MIjhqzEXLJiIvpQ13KSdpHFE0/A+LNd9EIv6sp2D26Q+pIicK4f2u1e70Evp41ym+W4OoB/ypERpIMYnape2+IWxgPO4PRPyiROFvY8NebIYqYSyGBcOB5pmkrJgTiBZNv7TyM2JXdKGkjK/+HxnFD3pKTJClVWOICK5i740DFE7yeuzeHNgCUbG1w0pUnFtQ5j3Z2V2ZiROEFRCWYjx4/Rwl+FkpeVxF0kGw7CQxbgDZiySdA5DsSzXYzwhnWTH6oeYuEAeIflDdhjve+DIEDGANOtP+DHbhMwuC4cAiR4O1TjVpvPS4oCZ1FjOybI18m+EyL8+Z3xVQBrfiU43+IHa8XC/Jop+zlGPs/5PYz4+LLCAt9jIgozKAffLpky8LGXxMJh8Quz6Ds2DMH19cChes/7TlIQFo8VIHuKGUUoFhXG/WcRUrTB4iv8CymcXTFlaJRegmEfe8v5aRUG/xRfavnE37jmafZBkffg9gKn6TphNs99k1+3JQUTVd6AUD85Rg9qsaBxea4uMyUug224IHa744b6Uy8Ry1TLlELfgR6C2K5mzngU/8qufag3bTrWGtmoYDWdufSHrtSsx6DqAbjMVBHpQgHIA+sXO1byFVLK9/5LPtxLovvM+kLBD3z+7SGEjg73neQdlNrDurKCzAUVdLc9snCsN5Ty1hzcJxPnYrpjbbwGZEBfNwN3Y3S18VDc9dTstP+ek+L7DN6JAVenOhz+syCjjp2eoUOgBgrt1gEAFYuY0yONQMag4O/zCyvmnG0g77s/D3pKr448AfhQCNCuLYIzGI3zXSUh1rYIvTxFzXiDA/FfrKc4TiSgc+3aMmilL0MpHVdraA++wtxNp7NbgfdE78c+g5nosBxbdhx8rizw/dTD0l0KXEgUNA8hdNEurRWEFpnGIMZU6lK/kfAPBDtB16Q70vDPsUD7sDqYXIz+ADnNqG0Axoy5aU47H6YFXgjl8dOzC7nzWN0uIhuLvJEmkhgNWCYxLHPxUn/pNvUrh/tHhQhwECIgK3p9AHKWTcGgLnioMZpxw1VYf0jFSLnV9GOKJuFV8KsNRmc5RLkK/OOTfhXzxORzf8O3Qeva6di94GpcMj9sDNO+FSxbZ8KNrsUyyyuwmnGbf9xT2MnGHY4Nwdpv4fThnswg/zuuGcpJX/OosheWloYNsMbFasimnhhvUKzIsZGD7mflwWlikKSVfZ3OwOPpszgcbR7I6TZXq82r9zK4bZdPrMSuw1sp3g+wgP4xL9OXVbL7Di6p/g4dXMEhYTKsceCygPmza7kB5xubYTNS3RuSPZYdh2aHc4gquxxLJNav/la9ODqg9i6Fcto3uM+8uNHL/TeUKCP6Bl0SiEI351o5eVMatZO/Dc9DJ+PWYn2cpLm+UfcrL55wfLlsHuusSCGUw3VSlEH01Lnx6B8r2iZ1spAZJIfLapp4LILd8GW5D6Buh56yMIbg4Dp7d4TYQAp39MWFJQd+cTB7wi55JOB++cSF3RHAkzcP+rt16BnU0gqTx3zSDLM2IiKCLJ3BS40NedvLUTL4ZWuCbrgzV/tYgtwEGGORKt+up5ECJRh+ArGAceJ6w/jXluybzhzga4DbnpOrFaU3UeGiSscnw5EpZlNeYlEaX+kEvL6bSxvnK56r4DMiNDmWj2c18pq8ewGD/6iTs4GdFM3N7dRNYyFcGDXVJIb4Lr8D/CcyB/kIULRyHp5jCjgVsbsuJGjOjkJe52P7weQrnuzkiF/CXoEYmiNglOKVIo9jZhm41OIouuh+cWEMqastNtFMR/7Yh/HZv4Sgm19P578mqI1xWnWGzkiiw++MVXG6f2vc5wIvt6xTRdp9m7JjXhNlnLh89eAo851HhqCCnnU28hEPjBC3toQb+8BffrHuonqazMvhmfZka0Ue9zL+ZNRH7jcadzOgP/BeXbQwVxY7OQHXJgNBP/aXm4ZmE0YiJ/SWO046QN9bZw57r19mVlzaiQCjPOTgTKlvX2maMAGSuaLQZoMQDKJclYeujZ9Opiv7vLsUMY3b01q/L+jiHc5FLACzpH9kSOOqLO+xrL36EL5caCGnlJrH+K4S0+VzyKEBc24qmiRZhJCOzursq2NkQtdGW5AeyM38C05F3/VVH26fNkvrwxsDgpmpXoqGmHUqe9VuLZOW7crXA9IzeBxq56Dmjzbq6gPp2Ya9u9B3NDkruO1D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07</TotalTime>
  <Words>169</Words>
  <Application>Microsoft Office PowerPoint</Application>
  <PresentationFormat>On-screen Show (4:3)</PresentationFormat>
  <Paragraphs>52</Paragraphs>
  <Slides>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Century Gothic</vt:lpstr>
      <vt:lpstr>Clarity</vt:lpstr>
      <vt:lpstr>Alphabet’s Financial Results in 5 Slides</vt:lpstr>
      <vt:lpstr>Market Cap Comparison</vt:lpstr>
      <vt:lpstr>Alphabet vs. Apple Quarterly Performance</vt:lpstr>
      <vt:lpstr>Alphabet Segment Revenue Trend</vt:lpstr>
      <vt:lpstr>Google Segment Breakdown</vt:lpstr>
      <vt:lpstr>Alphabet Segment Incom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is of Alphabet's Financial Performance</dc:title>
  <dc:creator>Mekko Graphics</dc:creator>
  <cp:keywords>Strategy and Business Charts, Financial Analysis</cp:keywords>
  <cp:lastModifiedBy>Diane Rich</cp:lastModifiedBy>
  <cp:revision>799</cp:revision>
  <cp:lastPrinted>2015-05-13T17:11:15Z</cp:lastPrinted>
  <dcterms:created xsi:type="dcterms:W3CDTF">2013-11-13T19:00:18Z</dcterms:created>
  <dcterms:modified xsi:type="dcterms:W3CDTF">2016-02-03T14:16:46Z</dcterms:modified>
</cp:coreProperties>
</file>